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6"/>
  </p:sldMasterIdLst>
  <p:notesMasterIdLst>
    <p:notesMasterId r:id="rId20"/>
  </p:notesMasterIdLst>
  <p:handoutMasterIdLst>
    <p:handoutMasterId r:id="rId21"/>
  </p:handoutMasterIdLst>
  <p:sldIdLst>
    <p:sldId id="256" r:id="rId7"/>
    <p:sldId id="383" r:id="rId8"/>
    <p:sldId id="384" r:id="rId9"/>
    <p:sldId id="385" r:id="rId10"/>
    <p:sldId id="386" r:id="rId11"/>
    <p:sldId id="387" r:id="rId12"/>
    <p:sldId id="363" r:id="rId13"/>
    <p:sldId id="364" r:id="rId14"/>
    <p:sldId id="382" r:id="rId15"/>
    <p:sldId id="365" r:id="rId16"/>
    <p:sldId id="366" r:id="rId17"/>
    <p:sldId id="367" r:id="rId18"/>
    <p:sldId id="373" r:id="rId19"/>
  </p:sldIdLst>
  <p:sldSz cx="12192000" cy="6858000"/>
  <p:notesSz cx="6805613" cy="99441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2183" userDrawn="1">
          <p15:clr>
            <a:srgbClr val="A4A3A4"/>
          </p15:clr>
        </p15:guide>
        <p15:guide id="4" pos="3840" userDrawn="1">
          <p15:clr>
            <a:srgbClr val="A4A3A4"/>
          </p15:clr>
        </p15:guide>
      </p15:sldGuideLst>
    </p:ext>
    <p:ext uri="{2D200454-40CA-4A62-9FC3-DE9A4176ACB9}">
      <p15:notesGuideLst xmlns:p15="http://schemas.microsoft.com/office/powerpoint/2012/main">
        <p15:guide id="1" orient="horz" pos="3132" userDrawn="1">
          <p15:clr>
            <a:srgbClr val="A4A3A4"/>
          </p15:clr>
        </p15:guide>
        <p15:guide id="2" pos="214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ltus, Jamie (J.)" initials="BJ(" lastIdx="25" clrIdx="0">
    <p:extLst>
      <p:ext uri="{19B8F6BF-5375-455C-9EA6-DF929625EA0E}">
        <p15:presenceInfo xmlns:p15="http://schemas.microsoft.com/office/powerpoint/2012/main" userId="S-1-5-21-2577068167-3765263781-1516057960-17686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Stijl, licht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65" autoAdjust="0"/>
    <p:restoredTop sz="95968" autoAdjust="0"/>
  </p:normalViewPr>
  <p:slideViewPr>
    <p:cSldViewPr snapToGrid="0" showGuides="1">
      <p:cViewPr varScale="1">
        <p:scale>
          <a:sx n="120" d="100"/>
          <a:sy n="120" d="100"/>
        </p:scale>
        <p:origin x="114" y="204"/>
      </p:cViewPr>
      <p:guideLst>
        <p:guide orient="horz" pos="2183"/>
        <p:guide pos="3840"/>
      </p:guideLst>
    </p:cSldViewPr>
  </p:slideViewPr>
  <p:outlineViewPr>
    <p:cViewPr>
      <p:scale>
        <a:sx n="33" d="100"/>
        <a:sy n="33" d="100"/>
      </p:scale>
      <p:origin x="0" y="-1038"/>
    </p:cViewPr>
  </p:outlineViewPr>
  <p:notesTextViewPr>
    <p:cViewPr>
      <p:scale>
        <a:sx n="1" d="1"/>
        <a:sy n="1" d="1"/>
      </p:scale>
      <p:origin x="0" y="0"/>
    </p:cViewPr>
  </p:notesTextViewPr>
  <p:sorterViewPr>
    <p:cViewPr>
      <p:scale>
        <a:sx n="150" d="100"/>
        <a:sy n="150" d="100"/>
      </p:scale>
      <p:origin x="0" y="0"/>
    </p:cViewPr>
  </p:sorterViewPr>
  <p:notesViewPr>
    <p:cSldViewPr snapToGrid="0" showGuides="1">
      <p:cViewPr varScale="1">
        <p:scale>
          <a:sx n="60" d="100"/>
          <a:sy n="60" d="100"/>
        </p:scale>
        <p:origin x="3288" y="90"/>
      </p:cViewPr>
      <p:guideLst>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AA05DFD-387E-4456-8798-1CC047817A8C}"/>
              </a:ext>
            </a:extLst>
          </p:cNvPr>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94C049D2-4414-4D53-BCFD-B76DDAC55CD4}"/>
              </a:ext>
            </a:extLst>
          </p:cNvPr>
          <p:cNvSpPr>
            <a:spLocks noGrp="1"/>
          </p:cNvSpPr>
          <p:nvPr>
            <p:ph type="dt" sz="quarter" idx="1"/>
          </p:nvPr>
        </p:nvSpPr>
        <p:spPr>
          <a:xfrm>
            <a:off x="3854939" y="0"/>
            <a:ext cx="2949099" cy="498932"/>
          </a:xfrm>
          <a:prstGeom prst="rect">
            <a:avLst/>
          </a:prstGeom>
        </p:spPr>
        <p:txBody>
          <a:bodyPr vert="horz" lIns="91440" tIns="45720" rIns="91440" bIns="45720" rtlCol="0"/>
          <a:lstStyle>
            <a:lvl1pPr algn="r">
              <a:defRPr sz="1200"/>
            </a:lvl1pPr>
          </a:lstStyle>
          <a:p>
            <a:fld id="{9C2A075F-538C-4253-967A-7F673D670707}" type="datetimeFigureOut">
              <a:rPr lang="en-US" smtClean="0"/>
              <a:t>2/7/2024</a:t>
            </a:fld>
            <a:endParaRPr lang="en-US" dirty="0"/>
          </a:p>
        </p:txBody>
      </p:sp>
      <p:sp>
        <p:nvSpPr>
          <p:cNvPr id="4" name="Footer Placeholder 3">
            <a:extLst>
              <a:ext uri="{FF2B5EF4-FFF2-40B4-BE49-F238E27FC236}">
                <a16:creationId xmlns:a16="http://schemas.microsoft.com/office/drawing/2014/main" id="{1171C25B-C8B5-42CF-9396-CFFF0816BD46}"/>
              </a:ext>
            </a:extLst>
          </p:cNvPr>
          <p:cNvSpPr>
            <a:spLocks noGrp="1"/>
          </p:cNvSpPr>
          <p:nvPr>
            <p:ph type="ftr" sz="quarter" idx="2"/>
          </p:nvPr>
        </p:nvSpPr>
        <p:spPr>
          <a:xfrm>
            <a:off x="0" y="9445170"/>
            <a:ext cx="2949099" cy="498931"/>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0EEDE736-F662-4435-A312-03C7CAE0CB23}"/>
              </a:ext>
            </a:extLst>
          </p:cNvPr>
          <p:cNvSpPr>
            <a:spLocks noGrp="1"/>
          </p:cNvSpPr>
          <p:nvPr>
            <p:ph type="sldNum" sz="quarter" idx="3"/>
          </p:nvPr>
        </p:nvSpPr>
        <p:spPr>
          <a:xfrm>
            <a:off x="3854939" y="9445170"/>
            <a:ext cx="2949099" cy="498931"/>
          </a:xfrm>
          <a:prstGeom prst="rect">
            <a:avLst/>
          </a:prstGeom>
        </p:spPr>
        <p:txBody>
          <a:bodyPr vert="horz" lIns="91440" tIns="45720" rIns="91440" bIns="45720" rtlCol="0" anchor="b"/>
          <a:lstStyle>
            <a:lvl1pPr algn="r">
              <a:defRPr sz="1200"/>
            </a:lvl1pPr>
          </a:lstStyle>
          <a:p>
            <a:fld id="{3001E9A9-2553-4E03-9A78-5F72B946E76B}" type="slidenum">
              <a:rPr lang="en-US" smtClean="0"/>
              <a:t>‹nr.›</a:t>
            </a:fld>
            <a:endParaRPr lang="en-US"/>
          </a:p>
        </p:txBody>
      </p:sp>
    </p:spTree>
    <p:extLst>
      <p:ext uri="{BB962C8B-B14F-4D97-AF65-F5344CB8AC3E}">
        <p14:creationId xmlns:p14="http://schemas.microsoft.com/office/powerpoint/2010/main" val="23506855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14F3C744-7E9A-45BB-888C-25C65BA4B3C8}" type="datetimeFigureOut">
              <a:rPr lang="nl-NL" smtClean="0"/>
              <a:t>7-2-2024</a:t>
            </a:fld>
            <a:endParaRPr lang="nl-NL"/>
          </a:p>
        </p:txBody>
      </p:sp>
      <p:sp>
        <p:nvSpPr>
          <p:cNvPr id="4" name="Slide Image Placeholder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9879940D-D835-49BF-ABDA-4919DB9EA053}" type="slidenum">
              <a:rPr lang="nl-NL" smtClean="0"/>
              <a:t>‹nr.›</a:t>
            </a:fld>
            <a:endParaRPr lang="nl-NL"/>
          </a:p>
        </p:txBody>
      </p:sp>
    </p:spTree>
    <p:extLst>
      <p:ext uri="{BB962C8B-B14F-4D97-AF65-F5344CB8AC3E}">
        <p14:creationId xmlns:p14="http://schemas.microsoft.com/office/powerpoint/2010/main" val="4109090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9879940D-D835-49BF-ABDA-4919DB9EA053}" type="slidenum">
              <a:rPr lang="nl-NL" smtClean="0"/>
              <a:t>1</a:t>
            </a:fld>
            <a:endParaRPr lang="nl-NL"/>
          </a:p>
        </p:txBody>
      </p:sp>
    </p:spTree>
    <p:extLst>
      <p:ext uri="{BB962C8B-B14F-4D97-AF65-F5344CB8AC3E}">
        <p14:creationId xmlns:p14="http://schemas.microsoft.com/office/powerpoint/2010/main" val="3584839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communicatieportaal.uwv.nl/modules/product/mediabank/default/?ItemId=3219"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hyperlink" Target="https://communicatieportaal.uwv.nl/modules/product/mediabank/default/?ItemId=3219" TargetMode="External"/><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hyperlink" Target="https://communicatieportaal.uwv.nl/modules/product/default/media/?ItemId=3217"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hyperlink" Target="https://communicatieportaal.uwv.nl/modules/product/mediabank/default/?ItemId=3219" TargetMode="External"/><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hyperlink" Target="https://communicatieportaal.uwv.nl/modules/product/default/media/?ItemId=3217" TargetMode="External"/></Relationships>
</file>

<file path=ppt/slideLayouts/_rels/slideLayout12.xml.rels><?xml version="1.0" encoding="UTF-8" standalone="yes"?>
<Relationships xmlns="http://schemas.openxmlformats.org/package/2006/relationships"><Relationship Id="rId3" Type="http://schemas.openxmlformats.org/officeDocument/2006/relationships/hyperlink" Target="https://communicatieportaal.uwv.nl/modules/product/mediabank/default/?ItemId=3237"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hyperlink" Target="https://communicatieportaal.uwv.nl/modules/product/mediabank/default/?ItemId=3219"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communicatieportaal.uwv.nl/modules/product/mediabank/default/?ItemId=3219" TargetMode="Externa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tartdia 01">
    <p:bg bwMode="gray">
      <p:bgPr>
        <a:solidFill>
          <a:srgbClr val="B9E2FF"/>
        </a:solidFill>
        <a:effectLst/>
      </p:bgPr>
    </p:bg>
    <p:spTree>
      <p:nvGrpSpPr>
        <p:cNvPr id="1" name=""/>
        <p:cNvGrpSpPr/>
        <p:nvPr/>
      </p:nvGrpSpPr>
      <p:grpSpPr>
        <a:xfrm>
          <a:off x="0" y="0"/>
          <a:ext cx="0" cy="0"/>
          <a:chOff x="0" y="0"/>
          <a:chExt cx="0" cy="0"/>
        </a:xfrm>
      </p:grpSpPr>
      <p:sp>
        <p:nvSpPr>
          <p:cNvPr id="157" name="Rectangle 156">
            <a:extLst>
              <a:ext uri="{FF2B5EF4-FFF2-40B4-BE49-F238E27FC236}">
                <a16:creationId xmlns:a16="http://schemas.microsoft.com/office/drawing/2014/main" id="{AA074DAD-76C0-489E-8DA4-03B808D0C386}"/>
              </a:ext>
            </a:extLst>
          </p:cNvPr>
          <p:cNvSpPr/>
          <p:nvPr userDrawn="1"/>
        </p:nvSpPr>
        <p:spPr bwMode="gray">
          <a:xfrm>
            <a:off x="-3714750" y="-933450"/>
            <a:ext cx="19621500" cy="87249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5" name="Text Placeholder 3">
            <a:extLst>
              <a:ext uri="{FF2B5EF4-FFF2-40B4-BE49-F238E27FC236}">
                <a16:creationId xmlns:a16="http://schemas.microsoft.com/office/drawing/2014/main" id="{7EA41BEC-EB05-47C6-A67D-D3307419223F}"/>
              </a:ext>
            </a:extLst>
          </p:cNvPr>
          <p:cNvSpPr txBox="1">
            <a:spLocks noChangeAspect="1"/>
          </p:cNvSpPr>
          <p:nvPr userDrawn="1"/>
        </p:nvSpPr>
        <p:spPr bwMode="gray">
          <a:xfrm>
            <a:off x="10491925" y="6012000"/>
            <a:ext cx="846000" cy="846000"/>
          </a:xfrm>
          <a:prstGeom prst="rect">
            <a:avLst/>
          </a:prstGeom>
          <a:blipFill>
            <a:blip r:embed="rId2"/>
            <a:stretch>
              <a:fillRect/>
            </a:stretch>
          </a:blipFill>
          <a:ln>
            <a:solidFill>
              <a:srgbClr val="0078D2"/>
            </a:solidFill>
          </a:ln>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
        <p:nvSpPr>
          <p:cNvPr id="151" name="Picture Placeholder 150">
            <a:extLst>
              <a:ext uri="{FF2B5EF4-FFF2-40B4-BE49-F238E27FC236}">
                <a16:creationId xmlns:a16="http://schemas.microsoft.com/office/drawing/2014/main" id="{9CC7415E-1AE2-4F73-9611-A711175E7758}"/>
              </a:ext>
            </a:extLst>
          </p:cNvPr>
          <p:cNvSpPr>
            <a:spLocks noGrp="1"/>
          </p:cNvSpPr>
          <p:nvPr>
            <p:ph type="pic" sz="quarter" idx="14" hasCustomPrompt="1"/>
          </p:nvPr>
        </p:nvSpPr>
        <p:spPr bwMode="gray">
          <a:xfrm>
            <a:off x="-600" y="5"/>
            <a:ext cx="12193200" cy="6857995"/>
          </a:xfrm>
          <a:custGeom>
            <a:avLst/>
            <a:gdLst>
              <a:gd name="connsiteX0" fmla="*/ 0 w 12193200"/>
              <a:gd name="connsiteY0" fmla="*/ 0 h 6857995"/>
              <a:gd name="connsiteX1" fmla="*/ 12193200 w 12193200"/>
              <a:gd name="connsiteY1" fmla="*/ 0 h 6857995"/>
              <a:gd name="connsiteX2" fmla="*/ 12193200 w 12193200"/>
              <a:gd name="connsiteY2" fmla="*/ 6857995 h 6857995"/>
              <a:gd name="connsiteX3" fmla="*/ 11338525 w 12193200"/>
              <a:gd name="connsiteY3" fmla="*/ 6857995 h 6857995"/>
              <a:gd name="connsiteX4" fmla="*/ 11338525 w 12193200"/>
              <a:gd name="connsiteY4" fmla="*/ 6011996 h 6857995"/>
              <a:gd name="connsiteX5" fmla="*/ 10492525 w 12193200"/>
              <a:gd name="connsiteY5" fmla="*/ 6011996 h 6857995"/>
              <a:gd name="connsiteX6" fmla="*/ 10492525 w 12193200"/>
              <a:gd name="connsiteY6" fmla="*/ 6857995 h 6857995"/>
              <a:gd name="connsiteX7" fmla="*/ 0 w 12193200"/>
              <a:gd name="connsiteY7" fmla="*/ 6857995 h 685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7995">
                <a:moveTo>
                  <a:pt x="0" y="0"/>
                </a:moveTo>
                <a:lnTo>
                  <a:pt x="12193200" y="0"/>
                </a:lnTo>
                <a:lnTo>
                  <a:pt x="12193200" y="6857995"/>
                </a:lnTo>
                <a:lnTo>
                  <a:pt x="11338525" y="6857995"/>
                </a:lnTo>
                <a:lnTo>
                  <a:pt x="11338525" y="6011996"/>
                </a:lnTo>
                <a:lnTo>
                  <a:pt x="10492525" y="6011996"/>
                </a:lnTo>
                <a:lnTo>
                  <a:pt x="10492525" y="6857995"/>
                </a:lnTo>
                <a:lnTo>
                  <a:pt x="0" y="6857995"/>
                </a:lnTo>
                <a:close/>
              </a:path>
            </a:pathLst>
          </a:custGeom>
          <a:solidFill>
            <a:srgbClr val="CCCCCC"/>
          </a:solidFill>
        </p:spPr>
        <p:txBody>
          <a:bodyPr wrap="square" lIns="0" tIns="0" rIns="0" bIns="1116000" anchor="ctr" anchorCtr="0">
            <a:noAutofit/>
          </a:bodyPr>
          <a:lstStyle>
            <a:lvl1pPr marL="0" indent="0" algn="ctr">
              <a:spcAft>
                <a:spcPts val="0"/>
              </a:spcAft>
              <a:buNone/>
              <a:defRPr/>
            </a:lvl1pPr>
          </a:lstStyle>
          <a:p>
            <a:r>
              <a:rPr lang="nl-NL" dirty="0"/>
              <a:t>Klik om foto toe te voegen.</a:t>
            </a:r>
            <a:br>
              <a:rPr lang="nl-NL" dirty="0"/>
            </a:br>
            <a:endParaRPr lang="nl-NL" dirty="0"/>
          </a:p>
        </p:txBody>
      </p:sp>
      <p:grpSp>
        <p:nvGrpSpPr>
          <p:cNvPr id="5" name="Group 4">
            <a:extLst>
              <a:ext uri="{FF2B5EF4-FFF2-40B4-BE49-F238E27FC236}">
                <a16:creationId xmlns:a16="http://schemas.microsoft.com/office/drawing/2014/main" id="{AD0759DD-32FC-455D-A781-D010C742EF44}"/>
              </a:ext>
            </a:extLst>
          </p:cNvPr>
          <p:cNvGrpSpPr/>
          <p:nvPr userDrawn="1"/>
        </p:nvGrpSpPr>
        <p:grpSpPr bwMode="gray">
          <a:xfrm>
            <a:off x="-329239" y="-319423"/>
            <a:ext cx="12846009" cy="7500113"/>
            <a:chOff x="-329239" y="-319423"/>
            <a:chExt cx="12846009" cy="7500113"/>
          </a:xfrm>
        </p:grpSpPr>
        <p:grpSp>
          <p:nvGrpSpPr>
            <p:cNvPr id="6" name="Group 5">
              <a:extLst>
                <a:ext uri="{FF2B5EF4-FFF2-40B4-BE49-F238E27FC236}">
                  <a16:creationId xmlns:a16="http://schemas.microsoft.com/office/drawing/2014/main" id="{2A39C751-F79A-4C9F-8CAD-AAC1FC8FFBB2}"/>
                </a:ext>
              </a:extLst>
            </p:cNvPr>
            <p:cNvGrpSpPr/>
            <p:nvPr userDrawn="1"/>
          </p:nvGrpSpPr>
          <p:grpSpPr bwMode="gray">
            <a:xfrm>
              <a:off x="-329239" y="0"/>
              <a:ext cx="240289" cy="6858000"/>
              <a:chOff x="-319714" y="0"/>
              <a:chExt cx="240289" cy="6858000"/>
            </a:xfrm>
          </p:grpSpPr>
          <p:sp>
            <p:nvSpPr>
              <p:cNvPr id="125" name="Line 230">
                <a:extLst>
                  <a:ext uri="{FF2B5EF4-FFF2-40B4-BE49-F238E27FC236}">
                    <a16:creationId xmlns:a16="http://schemas.microsoft.com/office/drawing/2014/main" id="{D4E4550A-9534-48B0-89D5-CEABDD136C56}"/>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6" name="Line 232">
                <a:extLst>
                  <a:ext uri="{FF2B5EF4-FFF2-40B4-BE49-F238E27FC236}">
                    <a16:creationId xmlns:a16="http://schemas.microsoft.com/office/drawing/2014/main" id="{BACE104E-24A0-48C4-9D0A-0E4DCF459B15}"/>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7" name="Line 234">
                <a:extLst>
                  <a:ext uri="{FF2B5EF4-FFF2-40B4-BE49-F238E27FC236}">
                    <a16:creationId xmlns:a16="http://schemas.microsoft.com/office/drawing/2014/main" id="{3BE0526B-EF66-4DE0-A6B3-3055BC124897}"/>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28" name="Line 236">
                <a:extLst>
                  <a:ext uri="{FF2B5EF4-FFF2-40B4-BE49-F238E27FC236}">
                    <a16:creationId xmlns:a16="http://schemas.microsoft.com/office/drawing/2014/main" id="{7144D54E-C6DE-4EB0-BAD5-743BBDE5DEA0}"/>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9" name="Line 238">
                <a:extLst>
                  <a:ext uri="{FF2B5EF4-FFF2-40B4-BE49-F238E27FC236}">
                    <a16:creationId xmlns:a16="http://schemas.microsoft.com/office/drawing/2014/main" id="{B3AD767A-05BF-430F-AD2D-A1A613607DE2}"/>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0" name="Line 240">
                <a:extLst>
                  <a:ext uri="{FF2B5EF4-FFF2-40B4-BE49-F238E27FC236}">
                    <a16:creationId xmlns:a16="http://schemas.microsoft.com/office/drawing/2014/main" id="{AD9A245B-D780-4984-A143-0551F87558CB}"/>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1" name="Line 244">
                <a:extLst>
                  <a:ext uri="{FF2B5EF4-FFF2-40B4-BE49-F238E27FC236}">
                    <a16:creationId xmlns:a16="http://schemas.microsoft.com/office/drawing/2014/main" id="{1372843A-4ABB-49CA-B672-7E3900DBAFA7}"/>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2" name="Line 246">
                <a:extLst>
                  <a:ext uri="{FF2B5EF4-FFF2-40B4-BE49-F238E27FC236}">
                    <a16:creationId xmlns:a16="http://schemas.microsoft.com/office/drawing/2014/main" id="{8DA48B56-583E-4621-9B40-B255EB06B9A0}"/>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3" name="Line 250">
                <a:extLst>
                  <a:ext uri="{FF2B5EF4-FFF2-40B4-BE49-F238E27FC236}">
                    <a16:creationId xmlns:a16="http://schemas.microsoft.com/office/drawing/2014/main" id="{6612D117-54F4-449C-88D5-9BAEEF80B4F0}"/>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4" name="Line 252">
                <a:extLst>
                  <a:ext uri="{FF2B5EF4-FFF2-40B4-BE49-F238E27FC236}">
                    <a16:creationId xmlns:a16="http://schemas.microsoft.com/office/drawing/2014/main" id="{F614BC26-F978-4DF1-82FC-2604353AEE61}"/>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5" name="Line 254">
                <a:extLst>
                  <a:ext uri="{FF2B5EF4-FFF2-40B4-BE49-F238E27FC236}">
                    <a16:creationId xmlns:a16="http://schemas.microsoft.com/office/drawing/2014/main" id="{6EB9F091-8AFC-4D1C-8A5B-83BBA8CD3B2D}"/>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6" name="Line 256">
                <a:extLst>
                  <a:ext uri="{FF2B5EF4-FFF2-40B4-BE49-F238E27FC236}">
                    <a16:creationId xmlns:a16="http://schemas.microsoft.com/office/drawing/2014/main" id="{612A84F4-1D81-4CD8-94B2-503E62C0169F}"/>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7" name="Line 258">
                <a:extLst>
                  <a:ext uri="{FF2B5EF4-FFF2-40B4-BE49-F238E27FC236}">
                    <a16:creationId xmlns:a16="http://schemas.microsoft.com/office/drawing/2014/main" id="{3B7A35D3-9234-414B-9FE4-CC6A820D76A3}"/>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8" name="Line 260">
                <a:extLst>
                  <a:ext uri="{FF2B5EF4-FFF2-40B4-BE49-F238E27FC236}">
                    <a16:creationId xmlns:a16="http://schemas.microsoft.com/office/drawing/2014/main" id="{CE8CCC7E-0874-4623-843B-4D79D000FFD7}"/>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9" name="Line 262">
                <a:extLst>
                  <a:ext uri="{FF2B5EF4-FFF2-40B4-BE49-F238E27FC236}">
                    <a16:creationId xmlns:a16="http://schemas.microsoft.com/office/drawing/2014/main" id="{AF182FE8-6E58-4DC5-8F76-BF4784891027}"/>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0" name="Line 264">
                <a:extLst>
                  <a:ext uri="{FF2B5EF4-FFF2-40B4-BE49-F238E27FC236}">
                    <a16:creationId xmlns:a16="http://schemas.microsoft.com/office/drawing/2014/main" id="{8A502D56-682E-469D-84E2-17A9B0151292}"/>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1" name="Line 266">
                <a:extLst>
                  <a:ext uri="{FF2B5EF4-FFF2-40B4-BE49-F238E27FC236}">
                    <a16:creationId xmlns:a16="http://schemas.microsoft.com/office/drawing/2014/main" id="{1C70F6EB-46AB-479C-9CED-87F044F7EF28}"/>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2" name="Line 268">
                <a:extLst>
                  <a:ext uri="{FF2B5EF4-FFF2-40B4-BE49-F238E27FC236}">
                    <a16:creationId xmlns:a16="http://schemas.microsoft.com/office/drawing/2014/main" id="{1825447B-BF9F-49F9-B5A5-9819989C5E3E}"/>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3" name="Line 270">
                <a:extLst>
                  <a:ext uri="{FF2B5EF4-FFF2-40B4-BE49-F238E27FC236}">
                    <a16:creationId xmlns:a16="http://schemas.microsoft.com/office/drawing/2014/main" id="{6AA68894-E6F1-45F5-A2C2-54FBBCFBF24E}"/>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4" name="Line 272">
                <a:extLst>
                  <a:ext uri="{FF2B5EF4-FFF2-40B4-BE49-F238E27FC236}">
                    <a16:creationId xmlns:a16="http://schemas.microsoft.com/office/drawing/2014/main" id="{B05BE89D-07E7-48CF-9A85-8BD3F85FF7D7}"/>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5" name="Line 274">
                <a:extLst>
                  <a:ext uri="{FF2B5EF4-FFF2-40B4-BE49-F238E27FC236}">
                    <a16:creationId xmlns:a16="http://schemas.microsoft.com/office/drawing/2014/main" id="{75FE4875-C4F0-4EE8-9D3B-E8585EA81E9D}"/>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6" name="Line 276">
                <a:extLst>
                  <a:ext uri="{FF2B5EF4-FFF2-40B4-BE49-F238E27FC236}">
                    <a16:creationId xmlns:a16="http://schemas.microsoft.com/office/drawing/2014/main" id="{BF165D1F-7B9E-4576-869D-2930A8E5D856}"/>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7" name="Line 278">
                <a:extLst>
                  <a:ext uri="{FF2B5EF4-FFF2-40B4-BE49-F238E27FC236}">
                    <a16:creationId xmlns:a16="http://schemas.microsoft.com/office/drawing/2014/main" id="{187C0853-1187-4A3A-A7B4-ED112B95515D}"/>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8" name="Line 256">
                <a:extLst>
                  <a:ext uri="{FF2B5EF4-FFF2-40B4-BE49-F238E27FC236}">
                    <a16:creationId xmlns:a16="http://schemas.microsoft.com/office/drawing/2014/main" id="{A396EB3D-97B6-4151-8E5C-78310124D677}"/>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9" name="Line 234">
                <a:extLst>
                  <a:ext uri="{FF2B5EF4-FFF2-40B4-BE49-F238E27FC236}">
                    <a16:creationId xmlns:a16="http://schemas.microsoft.com/office/drawing/2014/main" id="{95EFAB28-808E-41AA-AE40-D2F0542CF766}"/>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7" name="Group 6">
              <a:extLst>
                <a:ext uri="{FF2B5EF4-FFF2-40B4-BE49-F238E27FC236}">
                  <a16:creationId xmlns:a16="http://schemas.microsoft.com/office/drawing/2014/main" id="{4512F678-4BF9-47FA-BD10-B63B4569B4A8}"/>
                </a:ext>
              </a:extLst>
            </p:cNvPr>
            <p:cNvGrpSpPr/>
            <p:nvPr userDrawn="1"/>
          </p:nvGrpSpPr>
          <p:grpSpPr bwMode="gray">
            <a:xfrm>
              <a:off x="0" y="-319423"/>
              <a:ext cx="12192000" cy="232538"/>
              <a:chOff x="0" y="-319423"/>
              <a:chExt cx="12192000" cy="232538"/>
            </a:xfrm>
          </p:grpSpPr>
          <p:sp>
            <p:nvSpPr>
              <p:cNvPr id="81" name="Line 146">
                <a:extLst>
                  <a:ext uri="{FF2B5EF4-FFF2-40B4-BE49-F238E27FC236}">
                    <a16:creationId xmlns:a16="http://schemas.microsoft.com/office/drawing/2014/main" id="{66BB24E7-D8B0-4B80-92B5-C3830FDC666A}"/>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Line 148">
                <a:extLst>
                  <a:ext uri="{FF2B5EF4-FFF2-40B4-BE49-F238E27FC236}">
                    <a16:creationId xmlns:a16="http://schemas.microsoft.com/office/drawing/2014/main" id="{3F0DF605-E069-4065-98AC-7A2EF3272393}"/>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3" name="Line 150">
                <a:extLst>
                  <a:ext uri="{FF2B5EF4-FFF2-40B4-BE49-F238E27FC236}">
                    <a16:creationId xmlns:a16="http://schemas.microsoft.com/office/drawing/2014/main" id="{D6418495-F47F-4C32-ADF8-AA5F103621C7}"/>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4" name="Line 152">
                <a:extLst>
                  <a:ext uri="{FF2B5EF4-FFF2-40B4-BE49-F238E27FC236}">
                    <a16:creationId xmlns:a16="http://schemas.microsoft.com/office/drawing/2014/main" id="{C19B8F14-B6A1-42A2-9F48-1132D9A4270B}"/>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5" name="Line 154">
                <a:extLst>
                  <a:ext uri="{FF2B5EF4-FFF2-40B4-BE49-F238E27FC236}">
                    <a16:creationId xmlns:a16="http://schemas.microsoft.com/office/drawing/2014/main" id="{A85B8425-2253-4BC0-8C3C-A7C7F111236E}"/>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6" name="Line 156">
                <a:extLst>
                  <a:ext uri="{FF2B5EF4-FFF2-40B4-BE49-F238E27FC236}">
                    <a16:creationId xmlns:a16="http://schemas.microsoft.com/office/drawing/2014/main" id="{6D37C6FE-B169-488C-B2A6-3DA945473809}"/>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7" name="Line 158">
                <a:extLst>
                  <a:ext uri="{FF2B5EF4-FFF2-40B4-BE49-F238E27FC236}">
                    <a16:creationId xmlns:a16="http://schemas.microsoft.com/office/drawing/2014/main" id="{0CE50062-45AF-4A1A-8FE7-D70BF5143E99}"/>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8" name="Line 160">
                <a:extLst>
                  <a:ext uri="{FF2B5EF4-FFF2-40B4-BE49-F238E27FC236}">
                    <a16:creationId xmlns:a16="http://schemas.microsoft.com/office/drawing/2014/main" id="{51AEA080-BD1E-491C-8139-C5C1F0943858}"/>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9" name="Line 162">
                <a:extLst>
                  <a:ext uri="{FF2B5EF4-FFF2-40B4-BE49-F238E27FC236}">
                    <a16:creationId xmlns:a16="http://schemas.microsoft.com/office/drawing/2014/main" id="{29ED668D-4214-4237-9834-BA33BB43DCBD}"/>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0" name="Line 164">
                <a:extLst>
                  <a:ext uri="{FF2B5EF4-FFF2-40B4-BE49-F238E27FC236}">
                    <a16:creationId xmlns:a16="http://schemas.microsoft.com/office/drawing/2014/main" id="{ADC0B329-6524-4599-8160-BAA50AF4CBC9}"/>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1" name="Line 166">
                <a:extLst>
                  <a:ext uri="{FF2B5EF4-FFF2-40B4-BE49-F238E27FC236}">
                    <a16:creationId xmlns:a16="http://schemas.microsoft.com/office/drawing/2014/main" id="{954827C4-55F3-44E2-B3BA-7BDD41C6A8FF}"/>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2" name="Line 168">
                <a:extLst>
                  <a:ext uri="{FF2B5EF4-FFF2-40B4-BE49-F238E27FC236}">
                    <a16:creationId xmlns:a16="http://schemas.microsoft.com/office/drawing/2014/main" id="{C9432060-A195-4ED4-8484-C83CD53B89CD}"/>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3" name="Line 170">
                <a:extLst>
                  <a:ext uri="{FF2B5EF4-FFF2-40B4-BE49-F238E27FC236}">
                    <a16:creationId xmlns:a16="http://schemas.microsoft.com/office/drawing/2014/main" id="{8075712D-3E17-447F-9017-FFF04E6D14DE}"/>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4" name="Line 172">
                <a:extLst>
                  <a:ext uri="{FF2B5EF4-FFF2-40B4-BE49-F238E27FC236}">
                    <a16:creationId xmlns:a16="http://schemas.microsoft.com/office/drawing/2014/main" id="{C9DB9AAF-0040-4E6E-A441-A9C3DA03E746}"/>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5" name="Line 174">
                <a:extLst>
                  <a:ext uri="{FF2B5EF4-FFF2-40B4-BE49-F238E27FC236}">
                    <a16:creationId xmlns:a16="http://schemas.microsoft.com/office/drawing/2014/main" id="{0A2477F8-93E4-4D00-9FB0-A85E99CEFC1E}"/>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6" name="Line 176">
                <a:extLst>
                  <a:ext uri="{FF2B5EF4-FFF2-40B4-BE49-F238E27FC236}">
                    <a16:creationId xmlns:a16="http://schemas.microsoft.com/office/drawing/2014/main" id="{C61EC35D-4E9B-4321-ACFB-01AAE4BAD2DD}"/>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7" name="Line 178">
                <a:extLst>
                  <a:ext uri="{FF2B5EF4-FFF2-40B4-BE49-F238E27FC236}">
                    <a16:creationId xmlns:a16="http://schemas.microsoft.com/office/drawing/2014/main" id="{984CA8DE-653F-494B-B6F0-216AAD662433}"/>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8" name="Line 180">
                <a:extLst>
                  <a:ext uri="{FF2B5EF4-FFF2-40B4-BE49-F238E27FC236}">
                    <a16:creationId xmlns:a16="http://schemas.microsoft.com/office/drawing/2014/main" id="{C35A61D6-4854-4496-A5E9-D7E73D68FDAA}"/>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9" name="Line 182">
                <a:extLst>
                  <a:ext uri="{FF2B5EF4-FFF2-40B4-BE49-F238E27FC236}">
                    <a16:creationId xmlns:a16="http://schemas.microsoft.com/office/drawing/2014/main" id="{73EA0933-2626-4BB8-8A4B-158E6DAA89DC}"/>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0" name="Line 184">
                <a:extLst>
                  <a:ext uri="{FF2B5EF4-FFF2-40B4-BE49-F238E27FC236}">
                    <a16:creationId xmlns:a16="http://schemas.microsoft.com/office/drawing/2014/main" id="{0136451E-1F1F-4055-8EAE-981E9BC2D660}"/>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1" name="Line 186">
                <a:extLst>
                  <a:ext uri="{FF2B5EF4-FFF2-40B4-BE49-F238E27FC236}">
                    <a16:creationId xmlns:a16="http://schemas.microsoft.com/office/drawing/2014/main" id="{299631BA-3D05-4B83-845B-B2C4DDC3317B}"/>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2" name="Line 188">
                <a:extLst>
                  <a:ext uri="{FF2B5EF4-FFF2-40B4-BE49-F238E27FC236}">
                    <a16:creationId xmlns:a16="http://schemas.microsoft.com/office/drawing/2014/main" id="{1525F65D-164B-44D9-9C76-FDFC5A95880F}"/>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3" name="Line 190">
                <a:extLst>
                  <a:ext uri="{FF2B5EF4-FFF2-40B4-BE49-F238E27FC236}">
                    <a16:creationId xmlns:a16="http://schemas.microsoft.com/office/drawing/2014/main" id="{3C265673-A391-4408-B554-078964BDE322}"/>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4" name="Line 192">
                <a:extLst>
                  <a:ext uri="{FF2B5EF4-FFF2-40B4-BE49-F238E27FC236}">
                    <a16:creationId xmlns:a16="http://schemas.microsoft.com/office/drawing/2014/main" id="{D4DDB28A-0186-4DAB-B334-05A721A24B63}"/>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5" name="Line 194">
                <a:extLst>
                  <a:ext uri="{FF2B5EF4-FFF2-40B4-BE49-F238E27FC236}">
                    <a16:creationId xmlns:a16="http://schemas.microsoft.com/office/drawing/2014/main" id="{523E4B65-4617-4707-93B1-2F8CFDB1B807}"/>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6" name="Line 196">
                <a:extLst>
                  <a:ext uri="{FF2B5EF4-FFF2-40B4-BE49-F238E27FC236}">
                    <a16:creationId xmlns:a16="http://schemas.microsoft.com/office/drawing/2014/main" id="{F04E5044-D267-4B24-ACE6-756EAA71675A}"/>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7" name="Line 198">
                <a:extLst>
                  <a:ext uri="{FF2B5EF4-FFF2-40B4-BE49-F238E27FC236}">
                    <a16:creationId xmlns:a16="http://schemas.microsoft.com/office/drawing/2014/main" id="{61CDE2CE-D44C-44AF-AA9F-9B45DC500611}"/>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8" name="Line 200">
                <a:extLst>
                  <a:ext uri="{FF2B5EF4-FFF2-40B4-BE49-F238E27FC236}">
                    <a16:creationId xmlns:a16="http://schemas.microsoft.com/office/drawing/2014/main" id="{B9315FB6-7EC2-4BCD-AD02-22A39463963C}"/>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9" name="Line 202">
                <a:extLst>
                  <a:ext uri="{FF2B5EF4-FFF2-40B4-BE49-F238E27FC236}">
                    <a16:creationId xmlns:a16="http://schemas.microsoft.com/office/drawing/2014/main" id="{81FE896A-4CF4-4FEC-B9C3-FC863B06360A}"/>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0" name="Line 204">
                <a:extLst>
                  <a:ext uri="{FF2B5EF4-FFF2-40B4-BE49-F238E27FC236}">
                    <a16:creationId xmlns:a16="http://schemas.microsoft.com/office/drawing/2014/main" id="{BD7DD4DD-C781-468A-9007-0D1D0C7E3A24}"/>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1" name="Line 206">
                <a:extLst>
                  <a:ext uri="{FF2B5EF4-FFF2-40B4-BE49-F238E27FC236}">
                    <a16:creationId xmlns:a16="http://schemas.microsoft.com/office/drawing/2014/main" id="{C4A2457B-7CF7-4D89-A8D4-E895231D621A}"/>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2" name="Line 208">
                <a:extLst>
                  <a:ext uri="{FF2B5EF4-FFF2-40B4-BE49-F238E27FC236}">
                    <a16:creationId xmlns:a16="http://schemas.microsoft.com/office/drawing/2014/main" id="{0BDD61AE-38BF-4280-A931-087A2BD5D05F}"/>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3" name="Line 210">
                <a:extLst>
                  <a:ext uri="{FF2B5EF4-FFF2-40B4-BE49-F238E27FC236}">
                    <a16:creationId xmlns:a16="http://schemas.microsoft.com/office/drawing/2014/main" id="{E4173E12-B134-4F0F-B28F-EB07F5CD853A}"/>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4" name="Line 212">
                <a:extLst>
                  <a:ext uri="{FF2B5EF4-FFF2-40B4-BE49-F238E27FC236}">
                    <a16:creationId xmlns:a16="http://schemas.microsoft.com/office/drawing/2014/main" id="{01B0E40A-221A-4F65-80DA-A9515F93FA9F}"/>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5" name="Line 214">
                <a:extLst>
                  <a:ext uri="{FF2B5EF4-FFF2-40B4-BE49-F238E27FC236}">
                    <a16:creationId xmlns:a16="http://schemas.microsoft.com/office/drawing/2014/main" id="{827CCD90-A07F-452D-AAEA-4AA00EDCA74E}"/>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6" name="Line 216">
                <a:extLst>
                  <a:ext uri="{FF2B5EF4-FFF2-40B4-BE49-F238E27FC236}">
                    <a16:creationId xmlns:a16="http://schemas.microsoft.com/office/drawing/2014/main" id="{35574CB8-EB8F-4306-9550-20D8EEE58578}"/>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7" name="Line 218">
                <a:extLst>
                  <a:ext uri="{FF2B5EF4-FFF2-40B4-BE49-F238E27FC236}">
                    <a16:creationId xmlns:a16="http://schemas.microsoft.com/office/drawing/2014/main" id="{5A1AAAA1-FF9B-4E97-B86C-FB8E3D762C1D}"/>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8" name="Line 220">
                <a:extLst>
                  <a:ext uri="{FF2B5EF4-FFF2-40B4-BE49-F238E27FC236}">
                    <a16:creationId xmlns:a16="http://schemas.microsoft.com/office/drawing/2014/main" id="{8385E408-0830-4B9B-84D3-C585AE95F1CF}"/>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9" name="Line 222">
                <a:extLst>
                  <a:ext uri="{FF2B5EF4-FFF2-40B4-BE49-F238E27FC236}">
                    <a16:creationId xmlns:a16="http://schemas.microsoft.com/office/drawing/2014/main" id="{F1CA636E-2580-49FB-B0FC-FC49EB366B45}"/>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0" name="Line 224">
                <a:extLst>
                  <a:ext uri="{FF2B5EF4-FFF2-40B4-BE49-F238E27FC236}">
                    <a16:creationId xmlns:a16="http://schemas.microsoft.com/office/drawing/2014/main" id="{521B31CE-8639-405E-AE8B-CFC62416335E}"/>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1" name="Line 226">
                <a:extLst>
                  <a:ext uri="{FF2B5EF4-FFF2-40B4-BE49-F238E27FC236}">
                    <a16:creationId xmlns:a16="http://schemas.microsoft.com/office/drawing/2014/main" id="{4D398F7C-424D-4279-9ABC-26B114685A17}"/>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2" name="Line 228">
                <a:extLst>
                  <a:ext uri="{FF2B5EF4-FFF2-40B4-BE49-F238E27FC236}">
                    <a16:creationId xmlns:a16="http://schemas.microsoft.com/office/drawing/2014/main" id="{2CB5F778-A0EB-4148-971F-6041907C7DF8}"/>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3" name="Line 146">
                <a:extLst>
                  <a:ext uri="{FF2B5EF4-FFF2-40B4-BE49-F238E27FC236}">
                    <a16:creationId xmlns:a16="http://schemas.microsoft.com/office/drawing/2014/main" id="{8CA4CE63-E1FA-468C-99F9-D45DA805B8A5}"/>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4" name="Line 204">
                <a:extLst>
                  <a:ext uri="{FF2B5EF4-FFF2-40B4-BE49-F238E27FC236}">
                    <a16:creationId xmlns:a16="http://schemas.microsoft.com/office/drawing/2014/main" id="{6ABE99F5-E441-4A77-AC24-294BCB749515}"/>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8" name="Group 7">
              <a:extLst>
                <a:ext uri="{FF2B5EF4-FFF2-40B4-BE49-F238E27FC236}">
                  <a16:creationId xmlns:a16="http://schemas.microsoft.com/office/drawing/2014/main" id="{47248AC6-FDA9-4465-99AD-1C38037FAF42}"/>
                </a:ext>
              </a:extLst>
            </p:cNvPr>
            <p:cNvGrpSpPr/>
            <p:nvPr userDrawn="1"/>
          </p:nvGrpSpPr>
          <p:grpSpPr bwMode="gray">
            <a:xfrm>
              <a:off x="0" y="6948152"/>
              <a:ext cx="12192000" cy="232538"/>
              <a:chOff x="0" y="-319423"/>
              <a:chExt cx="12192000" cy="232538"/>
            </a:xfrm>
          </p:grpSpPr>
          <p:sp>
            <p:nvSpPr>
              <p:cNvPr id="37" name="Line 146">
                <a:extLst>
                  <a:ext uri="{FF2B5EF4-FFF2-40B4-BE49-F238E27FC236}">
                    <a16:creationId xmlns:a16="http://schemas.microsoft.com/office/drawing/2014/main" id="{391AC017-F7B3-482C-B9FF-080FEC8A1C3A}"/>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8" name="Line 148">
                <a:extLst>
                  <a:ext uri="{FF2B5EF4-FFF2-40B4-BE49-F238E27FC236}">
                    <a16:creationId xmlns:a16="http://schemas.microsoft.com/office/drawing/2014/main" id="{44C04A24-E2EA-4BB8-881B-0B0365B90D40}"/>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9" name="Line 150">
                <a:extLst>
                  <a:ext uri="{FF2B5EF4-FFF2-40B4-BE49-F238E27FC236}">
                    <a16:creationId xmlns:a16="http://schemas.microsoft.com/office/drawing/2014/main" id="{8E8C7757-A0DD-460F-B13E-92782C3B373E}"/>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0" name="Line 152">
                <a:extLst>
                  <a:ext uri="{FF2B5EF4-FFF2-40B4-BE49-F238E27FC236}">
                    <a16:creationId xmlns:a16="http://schemas.microsoft.com/office/drawing/2014/main" id="{830CB472-A70F-47F3-B95D-48B38A5A9D18}"/>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1" name="Line 154">
                <a:extLst>
                  <a:ext uri="{FF2B5EF4-FFF2-40B4-BE49-F238E27FC236}">
                    <a16:creationId xmlns:a16="http://schemas.microsoft.com/office/drawing/2014/main" id="{3C762C92-DD4C-4B41-926A-176A91E42C91}"/>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2" name="Line 156">
                <a:extLst>
                  <a:ext uri="{FF2B5EF4-FFF2-40B4-BE49-F238E27FC236}">
                    <a16:creationId xmlns:a16="http://schemas.microsoft.com/office/drawing/2014/main" id="{958F2E5C-9A31-4EFB-A642-127791D7B35F}"/>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3" name="Line 158">
                <a:extLst>
                  <a:ext uri="{FF2B5EF4-FFF2-40B4-BE49-F238E27FC236}">
                    <a16:creationId xmlns:a16="http://schemas.microsoft.com/office/drawing/2014/main" id="{1DC31FA4-6FBB-4F59-B070-7D392B1C793A}"/>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4" name="Line 160">
                <a:extLst>
                  <a:ext uri="{FF2B5EF4-FFF2-40B4-BE49-F238E27FC236}">
                    <a16:creationId xmlns:a16="http://schemas.microsoft.com/office/drawing/2014/main" id="{47AB1C28-9206-4E3E-89EF-28E1F054D944}"/>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5" name="Line 162">
                <a:extLst>
                  <a:ext uri="{FF2B5EF4-FFF2-40B4-BE49-F238E27FC236}">
                    <a16:creationId xmlns:a16="http://schemas.microsoft.com/office/drawing/2014/main" id="{D9773AE6-E0C7-4C53-964A-0E7DA25DEEF3}"/>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6" name="Line 164">
                <a:extLst>
                  <a:ext uri="{FF2B5EF4-FFF2-40B4-BE49-F238E27FC236}">
                    <a16:creationId xmlns:a16="http://schemas.microsoft.com/office/drawing/2014/main" id="{C288FCB6-C596-4BDB-8EFD-4296C5D1D3D7}"/>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7" name="Line 166">
                <a:extLst>
                  <a:ext uri="{FF2B5EF4-FFF2-40B4-BE49-F238E27FC236}">
                    <a16:creationId xmlns:a16="http://schemas.microsoft.com/office/drawing/2014/main" id="{CEF72E1D-5E71-4246-83E8-F168C356F57A}"/>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8" name="Line 168">
                <a:extLst>
                  <a:ext uri="{FF2B5EF4-FFF2-40B4-BE49-F238E27FC236}">
                    <a16:creationId xmlns:a16="http://schemas.microsoft.com/office/drawing/2014/main" id="{A7A78EE4-83AC-4D6E-A2CB-A15C0569981B}"/>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9" name="Line 170">
                <a:extLst>
                  <a:ext uri="{FF2B5EF4-FFF2-40B4-BE49-F238E27FC236}">
                    <a16:creationId xmlns:a16="http://schemas.microsoft.com/office/drawing/2014/main" id="{9BC205B0-D4F4-4ADD-841E-E01B3A86205C}"/>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0" name="Line 172">
                <a:extLst>
                  <a:ext uri="{FF2B5EF4-FFF2-40B4-BE49-F238E27FC236}">
                    <a16:creationId xmlns:a16="http://schemas.microsoft.com/office/drawing/2014/main" id="{08255FBF-8D07-4D30-89FB-4D19C188BF15}"/>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1" name="Line 174">
                <a:extLst>
                  <a:ext uri="{FF2B5EF4-FFF2-40B4-BE49-F238E27FC236}">
                    <a16:creationId xmlns:a16="http://schemas.microsoft.com/office/drawing/2014/main" id="{88D44F5D-148C-4BE2-9DA7-71A4382AC5B8}"/>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2" name="Line 176">
                <a:extLst>
                  <a:ext uri="{FF2B5EF4-FFF2-40B4-BE49-F238E27FC236}">
                    <a16:creationId xmlns:a16="http://schemas.microsoft.com/office/drawing/2014/main" id="{2C24DEE7-8BBD-415E-8903-E1547A2637B2}"/>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3" name="Line 178">
                <a:extLst>
                  <a:ext uri="{FF2B5EF4-FFF2-40B4-BE49-F238E27FC236}">
                    <a16:creationId xmlns:a16="http://schemas.microsoft.com/office/drawing/2014/main" id="{0AF8060D-FC6E-4EAC-85C2-C8DDB7009D9E}"/>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4" name="Line 180">
                <a:extLst>
                  <a:ext uri="{FF2B5EF4-FFF2-40B4-BE49-F238E27FC236}">
                    <a16:creationId xmlns:a16="http://schemas.microsoft.com/office/drawing/2014/main" id="{B07EB7C3-18E1-4BE0-9FA8-C4B4CA4D7EEC}"/>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5" name="Line 182">
                <a:extLst>
                  <a:ext uri="{FF2B5EF4-FFF2-40B4-BE49-F238E27FC236}">
                    <a16:creationId xmlns:a16="http://schemas.microsoft.com/office/drawing/2014/main" id="{8D1006CD-9550-4E4C-BCFD-BE5FD8250908}"/>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6" name="Line 184">
                <a:extLst>
                  <a:ext uri="{FF2B5EF4-FFF2-40B4-BE49-F238E27FC236}">
                    <a16:creationId xmlns:a16="http://schemas.microsoft.com/office/drawing/2014/main" id="{6DC36F23-C2D2-44EF-BBB2-CFEB90A644E1}"/>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7" name="Line 186">
                <a:extLst>
                  <a:ext uri="{FF2B5EF4-FFF2-40B4-BE49-F238E27FC236}">
                    <a16:creationId xmlns:a16="http://schemas.microsoft.com/office/drawing/2014/main" id="{E393CB5A-0267-4164-9243-10E934F7F7EB}"/>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8" name="Line 188">
                <a:extLst>
                  <a:ext uri="{FF2B5EF4-FFF2-40B4-BE49-F238E27FC236}">
                    <a16:creationId xmlns:a16="http://schemas.microsoft.com/office/drawing/2014/main" id="{E7AA2782-4FBA-4FFB-ABF0-796679C8B485}"/>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9" name="Line 190">
                <a:extLst>
                  <a:ext uri="{FF2B5EF4-FFF2-40B4-BE49-F238E27FC236}">
                    <a16:creationId xmlns:a16="http://schemas.microsoft.com/office/drawing/2014/main" id="{8E7CBB06-6B2B-448A-BAE5-72177B5D2880}"/>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0" name="Line 192">
                <a:extLst>
                  <a:ext uri="{FF2B5EF4-FFF2-40B4-BE49-F238E27FC236}">
                    <a16:creationId xmlns:a16="http://schemas.microsoft.com/office/drawing/2014/main" id="{87C0755B-AB24-4F44-9AD8-4C8ABE3800C3}"/>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1" name="Line 194">
                <a:extLst>
                  <a:ext uri="{FF2B5EF4-FFF2-40B4-BE49-F238E27FC236}">
                    <a16:creationId xmlns:a16="http://schemas.microsoft.com/office/drawing/2014/main" id="{BD88D2A4-60F1-447E-93AB-3494D39C45F2}"/>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2" name="Line 196">
                <a:extLst>
                  <a:ext uri="{FF2B5EF4-FFF2-40B4-BE49-F238E27FC236}">
                    <a16:creationId xmlns:a16="http://schemas.microsoft.com/office/drawing/2014/main" id="{4CFCE280-1622-460F-AC36-E8CB0B026BB2}"/>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3" name="Line 198">
                <a:extLst>
                  <a:ext uri="{FF2B5EF4-FFF2-40B4-BE49-F238E27FC236}">
                    <a16:creationId xmlns:a16="http://schemas.microsoft.com/office/drawing/2014/main" id="{2243FA71-101F-49C0-96F2-81B10F5BFB9B}"/>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4" name="Line 200">
                <a:extLst>
                  <a:ext uri="{FF2B5EF4-FFF2-40B4-BE49-F238E27FC236}">
                    <a16:creationId xmlns:a16="http://schemas.microsoft.com/office/drawing/2014/main" id="{307ABF85-CE64-4BE1-B6F2-0C4D4DBF4ACB}"/>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5" name="Line 202">
                <a:extLst>
                  <a:ext uri="{FF2B5EF4-FFF2-40B4-BE49-F238E27FC236}">
                    <a16:creationId xmlns:a16="http://schemas.microsoft.com/office/drawing/2014/main" id="{A81AC63F-C775-4CF3-A6EA-82FBAF50BC16}"/>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6" name="Line 204">
                <a:extLst>
                  <a:ext uri="{FF2B5EF4-FFF2-40B4-BE49-F238E27FC236}">
                    <a16:creationId xmlns:a16="http://schemas.microsoft.com/office/drawing/2014/main" id="{BF5ADE56-EBA3-4AA0-9CD7-494C8EB21909}"/>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7" name="Line 206">
                <a:extLst>
                  <a:ext uri="{FF2B5EF4-FFF2-40B4-BE49-F238E27FC236}">
                    <a16:creationId xmlns:a16="http://schemas.microsoft.com/office/drawing/2014/main" id="{D6105A57-7601-4166-8A44-881F49394934}"/>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8" name="Line 208">
                <a:extLst>
                  <a:ext uri="{FF2B5EF4-FFF2-40B4-BE49-F238E27FC236}">
                    <a16:creationId xmlns:a16="http://schemas.microsoft.com/office/drawing/2014/main" id="{424D709B-73B9-4A1F-8F38-90F085C75493}"/>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9" name="Line 210">
                <a:extLst>
                  <a:ext uri="{FF2B5EF4-FFF2-40B4-BE49-F238E27FC236}">
                    <a16:creationId xmlns:a16="http://schemas.microsoft.com/office/drawing/2014/main" id="{51B48032-CC5A-4835-9AC3-68C8773AA655}"/>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0" name="Line 212">
                <a:extLst>
                  <a:ext uri="{FF2B5EF4-FFF2-40B4-BE49-F238E27FC236}">
                    <a16:creationId xmlns:a16="http://schemas.microsoft.com/office/drawing/2014/main" id="{3913B23A-28F3-4E87-9F52-416C5E52697D}"/>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1" name="Line 214">
                <a:extLst>
                  <a:ext uri="{FF2B5EF4-FFF2-40B4-BE49-F238E27FC236}">
                    <a16:creationId xmlns:a16="http://schemas.microsoft.com/office/drawing/2014/main" id="{B0D78C0E-43FC-4E51-AD1F-D8E527FE6B95}"/>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2" name="Line 216">
                <a:extLst>
                  <a:ext uri="{FF2B5EF4-FFF2-40B4-BE49-F238E27FC236}">
                    <a16:creationId xmlns:a16="http://schemas.microsoft.com/office/drawing/2014/main" id="{215B58C8-7BC4-4CF9-B177-33CC4177E8CF}"/>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3" name="Line 218">
                <a:extLst>
                  <a:ext uri="{FF2B5EF4-FFF2-40B4-BE49-F238E27FC236}">
                    <a16:creationId xmlns:a16="http://schemas.microsoft.com/office/drawing/2014/main" id="{0D8B220C-D293-4FD7-B904-D7BEA69FDAD9}"/>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4" name="Line 220">
                <a:extLst>
                  <a:ext uri="{FF2B5EF4-FFF2-40B4-BE49-F238E27FC236}">
                    <a16:creationId xmlns:a16="http://schemas.microsoft.com/office/drawing/2014/main" id="{9D5AB9B7-76D2-4059-9388-711F4705309F}"/>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5" name="Line 222">
                <a:extLst>
                  <a:ext uri="{FF2B5EF4-FFF2-40B4-BE49-F238E27FC236}">
                    <a16:creationId xmlns:a16="http://schemas.microsoft.com/office/drawing/2014/main" id="{ED8703E4-D087-4371-81C9-DE887BA0377F}"/>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6" name="Line 224">
                <a:extLst>
                  <a:ext uri="{FF2B5EF4-FFF2-40B4-BE49-F238E27FC236}">
                    <a16:creationId xmlns:a16="http://schemas.microsoft.com/office/drawing/2014/main" id="{4ECB6CB8-CC82-456F-A5D8-B45DDEF2D21C}"/>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7" name="Line 226">
                <a:extLst>
                  <a:ext uri="{FF2B5EF4-FFF2-40B4-BE49-F238E27FC236}">
                    <a16:creationId xmlns:a16="http://schemas.microsoft.com/office/drawing/2014/main" id="{D5DB0C71-776F-456D-BB5F-8917BC699695}"/>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8" name="Line 228">
                <a:extLst>
                  <a:ext uri="{FF2B5EF4-FFF2-40B4-BE49-F238E27FC236}">
                    <a16:creationId xmlns:a16="http://schemas.microsoft.com/office/drawing/2014/main" id="{530FB8F0-5032-4AC5-8DB3-4B0C898E7EE6}"/>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9" name="Line 146">
                <a:extLst>
                  <a:ext uri="{FF2B5EF4-FFF2-40B4-BE49-F238E27FC236}">
                    <a16:creationId xmlns:a16="http://schemas.microsoft.com/office/drawing/2014/main" id="{6F917F00-0114-4369-85B9-9E2A558A244F}"/>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0" name="Line 204">
                <a:extLst>
                  <a:ext uri="{FF2B5EF4-FFF2-40B4-BE49-F238E27FC236}">
                    <a16:creationId xmlns:a16="http://schemas.microsoft.com/office/drawing/2014/main" id="{4EDC5332-29C9-43E6-8B22-E97932F007BC}"/>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9" name="Group 8">
              <a:extLst>
                <a:ext uri="{FF2B5EF4-FFF2-40B4-BE49-F238E27FC236}">
                  <a16:creationId xmlns:a16="http://schemas.microsoft.com/office/drawing/2014/main" id="{0ADC1258-315D-471F-926B-799F0B2CCEEB}"/>
                </a:ext>
              </a:extLst>
            </p:cNvPr>
            <p:cNvGrpSpPr/>
            <p:nvPr userDrawn="1"/>
          </p:nvGrpSpPr>
          <p:grpSpPr bwMode="gray">
            <a:xfrm>
              <a:off x="12276481" y="0"/>
              <a:ext cx="240289" cy="6858000"/>
              <a:chOff x="-319714" y="0"/>
              <a:chExt cx="240289" cy="6858000"/>
            </a:xfrm>
          </p:grpSpPr>
          <p:sp>
            <p:nvSpPr>
              <p:cNvPr id="12" name="Line 230">
                <a:extLst>
                  <a:ext uri="{FF2B5EF4-FFF2-40B4-BE49-F238E27FC236}">
                    <a16:creationId xmlns:a16="http://schemas.microsoft.com/office/drawing/2014/main" id="{DE1B2705-1DF3-4A2A-A9A7-C886644C2118}"/>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 name="Line 232">
                <a:extLst>
                  <a:ext uri="{FF2B5EF4-FFF2-40B4-BE49-F238E27FC236}">
                    <a16:creationId xmlns:a16="http://schemas.microsoft.com/office/drawing/2014/main" id="{34EA7BDB-FF81-42C2-8521-561E0E00A764}"/>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 name="Line 234">
                <a:extLst>
                  <a:ext uri="{FF2B5EF4-FFF2-40B4-BE49-F238E27FC236}">
                    <a16:creationId xmlns:a16="http://schemas.microsoft.com/office/drawing/2014/main" id="{9AD31D77-3E3F-44A4-8BF4-53C1A82D83FD}"/>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5" name="Line 236">
                <a:extLst>
                  <a:ext uri="{FF2B5EF4-FFF2-40B4-BE49-F238E27FC236}">
                    <a16:creationId xmlns:a16="http://schemas.microsoft.com/office/drawing/2014/main" id="{0C5099C4-7B8B-483B-A3FA-0103505267DF}"/>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 name="Line 238">
                <a:extLst>
                  <a:ext uri="{FF2B5EF4-FFF2-40B4-BE49-F238E27FC236}">
                    <a16:creationId xmlns:a16="http://schemas.microsoft.com/office/drawing/2014/main" id="{114E991C-0A41-493E-8F64-479EBA550403}"/>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 name="Line 240">
                <a:extLst>
                  <a:ext uri="{FF2B5EF4-FFF2-40B4-BE49-F238E27FC236}">
                    <a16:creationId xmlns:a16="http://schemas.microsoft.com/office/drawing/2014/main" id="{7A7E4E9F-4424-4CC8-80AC-9AAC7C242D96}"/>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 name="Line 244">
                <a:extLst>
                  <a:ext uri="{FF2B5EF4-FFF2-40B4-BE49-F238E27FC236}">
                    <a16:creationId xmlns:a16="http://schemas.microsoft.com/office/drawing/2014/main" id="{055333F7-B77F-4FEA-86F6-4FAD902EEE7E}"/>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 name="Line 246">
                <a:extLst>
                  <a:ext uri="{FF2B5EF4-FFF2-40B4-BE49-F238E27FC236}">
                    <a16:creationId xmlns:a16="http://schemas.microsoft.com/office/drawing/2014/main" id="{2DFDE95C-EB71-4829-8543-362440EA9B07}"/>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 name="Line 250">
                <a:extLst>
                  <a:ext uri="{FF2B5EF4-FFF2-40B4-BE49-F238E27FC236}">
                    <a16:creationId xmlns:a16="http://schemas.microsoft.com/office/drawing/2014/main" id="{C1C0E95F-C78C-44E8-9A67-641CBDCD475F}"/>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 name="Line 252">
                <a:extLst>
                  <a:ext uri="{FF2B5EF4-FFF2-40B4-BE49-F238E27FC236}">
                    <a16:creationId xmlns:a16="http://schemas.microsoft.com/office/drawing/2014/main" id="{DE7C0931-C491-40C6-89C4-3CEAC6856B72}"/>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 name="Line 254">
                <a:extLst>
                  <a:ext uri="{FF2B5EF4-FFF2-40B4-BE49-F238E27FC236}">
                    <a16:creationId xmlns:a16="http://schemas.microsoft.com/office/drawing/2014/main" id="{CCE1C1E6-4F33-43EF-865F-2D4DE9503670}"/>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56">
                <a:extLst>
                  <a:ext uri="{FF2B5EF4-FFF2-40B4-BE49-F238E27FC236}">
                    <a16:creationId xmlns:a16="http://schemas.microsoft.com/office/drawing/2014/main" id="{D09B93B4-3C05-4F25-8CDA-4F34D9FFC160}"/>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58">
                <a:extLst>
                  <a:ext uri="{FF2B5EF4-FFF2-40B4-BE49-F238E27FC236}">
                    <a16:creationId xmlns:a16="http://schemas.microsoft.com/office/drawing/2014/main" id="{2AF755CC-2FFC-4B76-8BDF-97C6DBD4AF45}"/>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 name="Line 260">
                <a:extLst>
                  <a:ext uri="{FF2B5EF4-FFF2-40B4-BE49-F238E27FC236}">
                    <a16:creationId xmlns:a16="http://schemas.microsoft.com/office/drawing/2014/main" id="{2044C688-5A9B-4372-B5D4-955FBB26E121}"/>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 name="Line 262">
                <a:extLst>
                  <a:ext uri="{FF2B5EF4-FFF2-40B4-BE49-F238E27FC236}">
                    <a16:creationId xmlns:a16="http://schemas.microsoft.com/office/drawing/2014/main" id="{9C686BC5-7749-4142-A541-57F6B97766EE}"/>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 name="Line 264">
                <a:extLst>
                  <a:ext uri="{FF2B5EF4-FFF2-40B4-BE49-F238E27FC236}">
                    <a16:creationId xmlns:a16="http://schemas.microsoft.com/office/drawing/2014/main" id="{9FA655F9-3472-4505-BD61-136B9A460C7F}"/>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 name="Line 266">
                <a:extLst>
                  <a:ext uri="{FF2B5EF4-FFF2-40B4-BE49-F238E27FC236}">
                    <a16:creationId xmlns:a16="http://schemas.microsoft.com/office/drawing/2014/main" id="{EDFADCFE-5031-4911-996F-E3FF861FCA12}"/>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 name="Line 268">
                <a:extLst>
                  <a:ext uri="{FF2B5EF4-FFF2-40B4-BE49-F238E27FC236}">
                    <a16:creationId xmlns:a16="http://schemas.microsoft.com/office/drawing/2014/main" id="{E7337D11-079E-4694-9DD7-EC80B708DB36}"/>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0" name="Line 270">
                <a:extLst>
                  <a:ext uri="{FF2B5EF4-FFF2-40B4-BE49-F238E27FC236}">
                    <a16:creationId xmlns:a16="http://schemas.microsoft.com/office/drawing/2014/main" id="{CECADB7A-B1CD-4FD2-86BB-8990452E95EA}"/>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1" name="Line 272">
                <a:extLst>
                  <a:ext uri="{FF2B5EF4-FFF2-40B4-BE49-F238E27FC236}">
                    <a16:creationId xmlns:a16="http://schemas.microsoft.com/office/drawing/2014/main" id="{93E96941-85CE-4AD5-AE53-A852553352F7}"/>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2" name="Line 274">
                <a:extLst>
                  <a:ext uri="{FF2B5EF4-FFF2-40B4-BE49-F238E27FC236}">
                    <a16:creationId xmlns:a16="http://schemas.microsoft.com/office/drawing/2014/main" id="{F1297FCF-F318-451D-8CF4-C8FF19AD5E10}"/>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3" name="Line 276">
                <a:extLst>
                  <a:ext uri="{FF2B5EF4-FFF2-40B4-BE49-F238E27FC236}">
                    <a16:creationId xmlns:a16="http://schemas.microsoft.com/office/drawing/2014/main" id="{6B483D16-F2F6-4BE4-A8D0-5D6DA4D9C11B}"/>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4" name="Line 278">
                <a:extLst>
                  <a:ext uri="{FF2B5EF4-FFF2-40B4-BE49-F238E27FC236}">
                    <a16:creationId xmlns:a16="http://schemas.microsoft.com/office/drawing/2014/main" id="{0A2D2505-7DB5-41A0-B3BB-C39384987A63}"/>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5" name="Line 256">
                <a:extLst>
                  <a:ext uri="{FF2B5EF4-FFF2-40B4-BE49-F238E27FC236}">
                    <a16:creationId xmlns:a16="http://schemas.microsoft.com/office/drawing/2014/main" id="{CF713AE6-78A3-4965-AF92-F3C6E2DB0459}"/>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6" name="Line 234">
                <a:extLst>
                  <a:ext uri="{FF2B5EF4-FFF2-40B4-BE49-F238E27FC236}">
                    <a16:creationId xmlns:a16="http://schemas.microsoft.com/office/drawing/2014/main" id="{DFBC55C8-7429-4C1B-8498-40C812497AF8}"/>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152" name="Title 1">
            <a:extLst>
              <a:ext uri="{FF2B5EF4-FFF2-40B4-BE49-F238E27FC236}">
                <a16:creationId xmlns:a16="http://schemas.microsoft.com/office/drawing/2014/main" id="{BD55DD73-DE21-4DC2-9E75-525CD057BBFE}"/>
              </a:ext>
            </a:extLst>
          </p:cNvPr>
          <p:cNvSpPr>
            <a:spLocks noGrp="1"/>
          </p:cNvSpPr>
          <p:nvPr>
            <p:ph type="ctrTitle" hasCustomPrompt="1"/>
          </p:nvPr>
        </p:nvSpPr>
        <p:spPr bwMode="gray">
          <a:xfrm>
            <a:off x="283535" y="3978534"/>
            <a:ext cx="8506050" cy="1450716"/>
          </a:xfrm>
          <a:prstGeom prst="rect">
            <a:avLst/>
          </a:prstGeom>
          <a:solidFill>
            <a:schemeClr val="tx2"/>
          </a:solidFill>
        </p:spPr>
        <p:txBody>
          <a:bodyPr wrap="square" lIns="284400" tIns="251999" rIns="251999" bIns="251999" anchor="b" anchorCtr="0">
            <a:spAutoFit/>
          </a:bodyPr>
          <a:lstStyle>
            <a:lvl1pPr algn="l">
              <a:lnSpc>
                <a:spcPct val="85000"/>
              </a:lnSpc>
              <a:spcBef>
                <a:spcPts val="600"/>
              </a:spcBef>
              <a:defRPr sz="3600" b="1" kern="1100" baseline="0">
                <a:solidFill>
                  <a:schemeClr val="bg1"/>
                </a:solidFill>
              </a:defRPr>
            </a:lvl1pPr>
          </a:lstStyle>
          <a:p>
            <a:r>
              <a:rPr lang="nl-NL" dirty="0"/>
              <a:t>Klik om de presentatie titel aan te passen</a:t>
            </a:r>
            <a:endParaRPr lang="en-GB" dirty="0"/>
          </a:p>
        </p:txBody>
      </p:sp>
      <p:sp>
        <p:nvSpPr>
          <p:cNvPr id="153" name="Text Placeholder 10">
            <a:extLst>
              <a:ext uri="{FF2B5EF4-FFF2-40B4-BE49-F238E27FC236}">
                <a16:creationId xmlns:a16="http://schemas.microsoft.com/office/drawing/2014/main" id="{B726F0E7-23C0-40F9-93D2-60E17E5C88D4}"/>
              </a:ext>
            </a:extLst>
          </p:cNvPr>
          <p:cNvSpPr>
            <a:spLocks noGrp="1"/>
          </p:cNvSpPr>
          <p:nvPr>
            <p:ph type="body" sz="quarter" idx="10" hasCustomPrompt="1"/>
          </p:nvPr>
        </p:nvSpPr>
        <p:spPr bwMode="gray">
          <a:xfrm>
            <a:off x="283534" y="5724331"/>
            <a:ext cx="4820075" cy="345013"/>
          </a:xfrm>
          <a:prstGeom prst="rect">
            <a:avLst/>
          </a:prstGeom>
          <a:solidFill>
            <a:schemeClr val="accent2"/>
          </a:solidFill>
        </p:spPr>
        <p:txBody>
          <a:bodyPr lIns="284400" tIns="72000" rIns="108000" bIns="72000" anchor="t" anchorCtr="0">
            <a:spAutoFit/>
          </a:bodyPr>
          <a:lstStyle>
            <a:lvl1pPr marL="0" indent="0" algn="l">
              <a:spcAft>
                <a:spcPts val="0"/>
              </a:spcAft>
              <a:buNone/>
              <a:defRPr sz="1300">
                <a:solidFill>
                  <a:schemeClr val="bg1"/>
                </a:solidFill>
              </a:defRPr>
            </a:lvl1pPr>
          </a:lstStyle>
          <a:p>
            <a:pPr lvl="0"/>
            <a:r>
              <a:rPr lang="nl-NL" dirty="0"/>
              <a:t>Presentator informatie</a:t>
            </a:r>
          </a:p>
        </p:txBody>
      </p:sp>
      <p:sp>
        <p:nvSpPr>
          <p:cNvPr id="156" name="Content Placeholder 1">
            <a:extLst>
              <a:ext uri="{FF2B5EF4-FFF2-40B4-BE49-F238E27FC236}">
                <a16:creationId xmlns:a16="http://schemas.microsoft.com/office/drawing/2014/main" id="{1F6CE2D0-BC08-4306-BCF8-C5AB0D96BB84}"/>
              </a:ext>
            </a:extLst>
          </p:cNvPr>
          <p:cNvSpPr txBox="1">
            <a:spLocks/>
          </p:cNvSpPr>
          <p:nvPr userDrawn="1"/>
        </p:nvSpPr>
        <p:spPr bwMode="gray">
          <a:xfrm>
            <a:off x="-3164400" y="2"/>
            <a:ext cx="2804400" cy="4571998"/>
          </a:xfrm>
          <a:prstGeom prst="rect">
            <a:avLst/>
          </a:prstGeom>
        </p:spPr>
        <p:txBody>
          <a:bodyPr lIns="0" tIns="0" rIns="0" bIns="0"/>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gn="l">
              <a:spcBef>
                <a:spcPts val="0"/>
              </a:spcBef>
            </a:pPr>
            <a:r>
              <a:rPr lang="nl-NL" sz="1100" b="1">
                <a:solidFill>
                  <a:schemeClr val="tx1"/>
                </a:solidFill>
              </a:rPr>
              <a:t>Gebruik van afbeeldingen als achtergrond</a:t>
            </a:r>
          </a:p>
          <a:p>
            <a:pPr algn="l">
              <a:spcBef>
                <a:spcPts val="0"/>
              </a:spcBef>
            </a:pPr>
            <a:endParaRPr lang="nl-NL" sz="1100" b="1">
              <a:solidFill>
                <a:schemeClr val="tx1"/>
              </a:solidFill>
            </a:endParaRPr>
          </a:p>
          <a:p>
            <a:pPr marL="171450" indent="-171450" algn="l">
              <a:spcBef>
                <a:spcPts val="0"/>
              </a:spcBef>
              <a:buFont typeface="Arial" panose="020B0604020202020204" pitchFamily="34" charset="0"/>
              <a:buChar char="•"/>
            </a:pPr>
            <a:r>
              <a:rPr lang="nl-NL" sz="1100" b="0">
                <a:solidFill>
                  <a:schemeClr val="tx1"/>
                </a:solidFill>
              </a:rPr>
              <a:t>Klik op het grijze afbeeldingsveld</a:t>
            </a:r>
          </a:p>
          <a:p>
            <a:pPr marL="171450" indent="-171450" algn="l">
              <a:spcBef>
                <a:spcPts val="0"/>
              </a:spcBef>
              <a:buFont typeface="Arial" panose="020B0604020202020204" pitchFamily="34" charset="0"/>
              <a:buChar char="•"/>
            </a:pPr>
            <a:r>
              <a:rPr lang="nl-NL" sz="1100" b="0">
                <a:solidFill>
                  <a:schemeClr val="tx1"/>
                </a:solidFill>
              </a:rPr>
              <a:t>Ga nu naar </a:t>
            </a:r>
            <a:r>
              <a:rPr lang="nl-NL" sz="1100" b="1">
                <a:solidFill>
                  <a:schemeClr val="tx1"/>
                </a:solidFill>
              </a:rPr>
              <a:t>‘Invoegen’ </a:t>
            </a:r>
            <a:r>
              <a:rPr lang="nl-NL" sz="1100" b="0">
                <a:solidFill>
                  <a:schemeClr val="tx1"/>
                </a:solidFill>
              </a:rPr>
              <a:t>en kies </a:t>
            </a:r>
            <a:r>
              <a:rPr lang="nl-NL" sz="1100" b="1">
                <a:solidFill>
                  <a:schemeClr val="tx1"/>
                </a:solidFill>
              </a:rPr>
              <a:t>‘Afbeeldingen’</a:t>
            </a:r>
            <a:r>
              <a:rPr lang="nl-NL" sz="1100" b="0">
                <a:solidFill>
                  <a:schemeClr val="tx1"/>
                </a:solidFill>
              </a:rPr>
              <a:t>. </a:t>
            </a:r>
          </a:p>
          <a:p>
            <a:pPr marL="171450" indent="-171450" algn="l">
              <a:spcBef>
                <a:spcPts val="0"/>
              </a:spcBef>
              <a:buFont typeface="Arial" panose="020B0604020202020204" pitchFamily="34" charset="0"/>
              <a:buChar char="•"/>
            </a:pPr>
            <a:r>
              <a:rPr lang="nl-NL" sz="1100" b="0">
                <a:solidFill>
                  <a:schemeClr val="tx1"/>
                </a:solidFill>
              </a:rPr>
              <a:t>Kies een afbeelding, klik op </a:t>
            </a:r>
            <a:r>
              <a:rPr lang="nl-NL" sz="1100" b="1">
                <a:solidFill>
                  <a:schemeClr val="tx1"/>
                </a:solidFill>
              </a:rPr>
              <a:t>‘Invoegen’ </a:t>
            </a:r>
            <a:r>
              <a:rPr lang="nl-NL" sz="1100" b="0">
                <a:solidFill>
                  <a:schemeClr val="tx1"/>
                </a:solidFill>
              </a:rPr>
              <a:t>en de afbeelding wordt geplaatst.</a:t>
            </a:r>
          </a:p>
          <a:p>
            <a:pPr marL="171450" indent="-171450" algn="l">
              <a:spcBef>
                <a:spcPts val="0"/>
              </a:spcBef>
              <a:buFont typeface="Arial" panose="020B0604020202020204" pitchFamily="34" charset="0"/>
              <a:buChar char="•"/>
            </a:pPr>
            <a:r>
              <a:rPr lang="nl-NL" sz="1100" b="0">
                <a:solidFill>
                  <a:schemeClr val="tx1"/>
                </a:solidFill>
              </a:rPr>
              <a:t>Wil je een uitsnede maken, selecteer dan de foto door erop te klikken en gebruik de crop- functie onder </a:t>
            </a:r>
            <a:r>
              <a:rPr lang="nl-NL" sz="1100" b="1">
                <a:solidFill>
                  <a:schemeClr val="tx1"/>
                </a:solidFill>
              </a:rPr>
              <a:t>‘Opmaak’/’Bijsnijden’</a:t>
            </a:r>
            <a:r>
              <a:rPr lang="nl-NL" sz="1100" b="0">
                <a:solidFill>
                  <a:schemeClr val="tx1"/>
                </a:solidFill>
              </a:rPr>
              <a:t>.</a:t>
            </a:r>
          </a:p>
          <a:p>
            <a:pPr marL="171450" indent="-171450" algn="l">
              <a:spcBef>
                <a:spcPts val="0"/>
              </a:spcBef>
              <a:buFont typeface="Arial" panose="020B0604020202020204" pitchFamily="34" charset="0"/>
              <a:buChar cha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r>
              <a:rPr lang="nl-NL" sz="1100" b="0">
                <a:solidFill>
                  <a:schemeClr val="tx1"/>
                </a:solidFill>
              </a:rPr>
              <a:t>Foto’s kun je kiezen uit de</a:t>
            </a:r>
            <a:r>
              <a:rPr lang="nl-NL" sz="1100" b="0" baseline="0">
                <a:solidFill>
                  <a:schemeClr val="tx1"/>
                </a:solidFill>
              </a:rPr>
              <a:t> </a:t>
            </a:r>
            <a:r>
              <a:rPr lang="nl-NL" sz="1100" b="1" baseline="0">
                <a:solidFill>
                  <a:schemeClr val="tx1"/>
                </a:solidFill>
              </a:rPr>
              <a:t>Mediabank in het UWV Communicatieportaal</a:t>
            </a:r>
            <a:r>
              <a:rPr lang="nl-NL" sz="1100" b="0" baseline="0">
                <a:solidFill>
                  <a:schemeClr val="tx1"/>
                </a:solidFill>
              </a:rPr>
              <a:t>. Deze foto’s zijn van hoge kwaliteit en hiervan is het intellectueel eigendom geregeld. </a:t>
            </a:r>
            <a:br>
              <a:rPr lang="nl-NL" sz="1100" b="0" baseline="0">
                <a:solidFill>
                  <a:schemeClr val="tx1"/>
                </a:solidFill>
              </a:rPr>
            </a:br>
            <a:br>
              <a:rPr lang="nl-NL" sz="1100" b="0" baseline="0">
                <a:solidFill>
                  <a:schemeClr val="tx1"/>
                </a:solidFill>
              </a:rPr>
            </a:br>
            <a:r>
              <a:rPr lang="nl-NL" sz="1100" b="0">
                <a:solidFill>
                  <a:schemeClr val="tx1"/>
                </a:solidFill>
                <a:hlinkClick r:id="rId3"/>
              </a:rPr>
              <a:t>https://communicatieportaal.uwv.nl/modules/product/mediabank/default/?ItemId=3219</a:t>
            </a: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endParaRPr lang="nl-NL" sz="1100" b="0" dirty="0">
              <a:solidFill>
                <a:schemeClr val="tx1"/>
              </a:solidFill>
            </a:endParaRPr>
          </a:p>
        </p:txBody>
      </p:sp>
    </p:spTree>
    <p:extLst>
      <p:ext uri="{BB962C8B-B14F-4D97-AF65-F5344CB8AC3E}">
        <p14:creationId xmlns:p14="http://schemas.microsoft.com/office/powerpoint/2010/main" val="152002145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met afbeelding">
    <p:bg>
      <p:bgPr>
        <a:solidFill>
          <a:schemeClr val="bg1"/>
        </a:solidFill>
        <a:effectLst/>
      </p:bgPr>
    </p:bg>
    <p:spTree>
      <p:nvGrpSpPr>
        <p:cNvPr id="1" name=""/>
        <p:cNvGrpSpPr/>
        <p:nvPr/>
      </p:nvGrpSpPr>
      <p:grpSpPr>
        <a:xfrm>
          <a:off x="0" y="0"/>
          <a:ext cx="0" cy="0"/>
          <a:chOff x="0" y="0"/>
          <a:chExt cx="0" cy="0"/>
        </a:xfrm>
      </p:grpSpPr>
      <p:sp>
        <p:nvSpPr>
          <p:cNvPr id="163" name="Text Placeholder 3">
            <a:extLst>
              <a:ext uri="{FF2B5EF4-FFF2-40B4-BE49-F238E27FC236}">
                <a16:creationId xmlns:a16="http://schemas.microsoft.com/office/drawing/2014/main" id="{BFF98558-5884-4779-A660-F7338CAAF7CE}"/>
              </a:ext>
            </a:extLst>
          </p:cNvPr>
          <p:cNvSpPr txBox="1">
            <a:spLocks/>
          </p:cNvSpPr>
          <p:nvPr userDrawn="1"/>
        </p:nvSpPr>
        <p:spPr bwMode="gray">
          <a:xfrm>
            <a:off x="11047668" y="6285600"/>
            <a:ext cx="572400" cy="572400"/>
          </a:xfrm>
          <a:prstGeom prst="rect">
            <a:avLst/>
          </a:prstGeom>
          <a:blipFill>
            <a:blip r:embed="rId2"/>
            <a:stretch>
              <a:fillRect/>
            </a:stretch>
          </a:blipFill>
          <a:ln>
            <a:solidFill>
              <a:srgbClr val="0078D2"/>
            </a:solidFill>
          </a:ln>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
        <p:nvSpPr>
          <p:cNvPr id="164" name="Picture Placeholder 163">
            <a:extLst>
              <a:ext uri="{FF2B5EF4-FFF2-40B4-BE49-F238E27FC236}">
                <a16:creationId xmlns:a16="http://schemas.microsoft.com/office/drawing/2014/main" id="{A606E928-CA9F-41D1-907A-E43074D18D69}"/>
              </a:ext>
            </a:extLst>
          </p:cNvPr>
          <p:cNvSpPr>
            <a:spLocks noGrp="1"/>
          </p:cNvSpPr>
          <p:nvPr>
            <p:ph type="pic" sz="quarter" idx="17" hasCustomPrompt="1"/>
          </p:nvPr>
        </p:nvSpPr>
        <p:spPr bwMode="gray">
          <a:xfrm>
            <a:off x="6234000" y="3"/>
            <a:ext cx="5958000" cy="6857995"/>
          </a:xfrm>
          <a:custGeom>
            <a:avLst/>
            <a:gdLst>
              <a:gd name="connsiteX0" fmla="*/ 0 w 5958000"/>
              <a:gd name="connsiteY0" fmla="*/ 0 h 6857995"/>
              <a:gd name="connsiteX1" fmla="*/ 5958000 w 5958000"/>
              <a:gd name="connsiteY1" fmla="*/ 0 h 6857995"/>
              <a:gd name="connsiteX2" fmla="*/ 5958000 w 5958000"/>
              <a:gd name="connsiteY2" fmla="*/ 6857995 h 6857995"/>
              <a:gd name="connsiteX3" fmla="*/ 5386068 w 5958000"/>
              <a:gd name="connsiteY3" fmla="*/ 6857995 h 6857995"/>
              <a:gd name="connsiteX4" fmla="*/ 5386068 w 5958000"/>
              <a:gd name="connsiteY4" fmla="*/ 6285596 h 6857995"/>
              <a:gd name="connsiteX5" fmla="*/ 4813668 w 5958000"/>
              <a:gd name="connsiteY5" fmla="*/ 6285596 h 6857995"/>
              <a:gd name="connsiteX6" fmla="*/ 4813668 w 5958000"/>
              <a:gd name="connsiteY6" fmla="*/ 6857995 h 6857995"/>
              <a:gd name="connsiteX7" fmla="*/ 0 w 5958000"/>
              <a:gd name="connsiteY7" fmla="*/ 6857995 h 685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8000" h="6857995">
                <a:moveTo>
                  <a:pt x="0" y="0"/>
                </a:moveTo>
                <a:lnTo>
                  <a:pt x="5958000" y="0"/>
                </a:lnTo>
                <a:lnTo>
                  <a:pt x="5958000" y="6857995"/>
                </a:lnTo>
                <a:lnTo>
                  <a:pt x="5386068" y="6857995"/>
                </a:lnTo>
                <a:lnTo>
                  <a:pt x="5386068" y="6285596"/>
                </a:lnTo>
                <a:lnTo>
                  <a:pt x="4813668" y="6285596"/>
                </a:lnTo>
                <a:lnTo>
                  <a:pt x="4813668" y="6857995"/>
                </a:lnTo>
                <a:lnTo>
                  <a:pt x="0" y="6857995"/>
                </a:lnTo>
                <a:close/>
              </a:path>
            </a:pathLst>
          </a:custGeom>
          <a:solidFill>
            <a:srgbClr val="CCCCCC"/>
          </a:solidFill>
        </p:spPr>
        <p:txBody>
          <a:bodyPr wrap="square" lIns="0" tIns="0" rIns="0" bIns="1476000" anchor="ctr" anchorCtr="0">
            <a:noAutofit/>
          </a:bodyPr>
          <a:lstStyle>
            <a:lvl1pPr marL="0" indent="0" algn="ctr">
              <a:spcAft>
                <a:spcPts val="0"/>
              </a:spcAft>
              <a:buNone/>
              <a:defRPr/>
            </a:lvl1pPr>
          </a:lstStyle>
          <a:p>
            <a:r>
              <a:rPr lang="nl-NL" dirty="0"/>
              <a:t>Klik om foto toe te voegen.</a:t>
            </a:r>
            <a:br>
              <a:rPr lang="nl-NL" dirty="0"/>
            </a:br>
            <a:endParaRPr lang="nl-NL" dirty="0"/>
          </a:p>
        </p:txBody>
      </p:sp>
      <p:sp>
        <p:nvSpPr>
          <p:cNvPr id="19" name="Content Placeholder 8">
            <a:extLst>
              <a:ext uri="{FF2B5EF4-FFF2-40B4-BE49-F238E27FC236}">
                <a16:creationId xmlns:a16="http://schemas.microsoft.com/office/drawing/2014/main" id="{6962ED52-3B89-4B31-B08C-CFF4417F8A1A}"/>
              </a:ext>
            </a:extLst>
          </p:cNvPr>
          <p:cNvSpPr>
            <a:spLocks noGrp="1"/>
          </p:cNvSpPr>
          <p:nvPr>
            <p:ph sz="quarter" idx="14" hasCustomPrompt="1"/>
          </p:nvPr>
        </p:nvSpPr>
        <p:spPr bwMode="gray">
          <a:xfrm>
            <a:off x="571500" y="1531939"/>
            <a:ext cx="5382000" cy="4573586"/>
          </a:xfrm>
        </p:spPr>
        <p:txBody>
          <a:bodyPr/>
          <a:lstStyle>
            <a:lvl1pPr>
              <a:defRPr/>
            </a:lvl1pPr>
            <a:lvl2pPr>
              <a:defRPr/>
            </a:lvl2pPr>
            <a:lvl3pPr>
              <a:defRPr/>
            </a:lvl3pPr>
            <a:lvl4pPr>
              <a:defRPr/>
            </a:lvl4pPr>
            <a:lvl5pPr>
              <a:defRPr/>
            </a:lvl5pPr>
          </a:lstStyle>
          <a:p>
            <a:pPr lvl="0"/>
            <a:r>
              <a:rPr lang="en-US" dirty="0" err="1"/>
              <a:t>Niveau</a:t>
            </a:r>
            <a:r>
              <a:rPr lang="en-US" dirty="0"/>
              <a:t> 1</a:t>
            </a:r>
          </a:p>
          <a:p>
            <a:pPr lvl="1"/>
            <a:r>
              <a:rPr lang="en-US" dirty="0" err="1"/>
              <a:t>Niveau</a:t>
            </a:r>
            <a:r>
              <a:rPr lang="en-US" dirty="0"/>
              <a:t> 2</a:t>
            </a:r>
          </a:p>
          <a:p>
            <a:pPr lvl="2"/>
            <a:r>
              <a:rPr lang="en-US" dirty="0" err="1"/>
              <a:t>Niveau</a:t>
            </a:r>
            <a:r>
              <a:rPr lang="en-US" dirty="0"/>
              <a:t> 3</a:t>
            </a:r>
          </a:p>
          <a:p>
            <a:pPr lvl="3"/>
            <a:r>
              <a:rPr lang="en-US" dirty="0" err="1"/>
              <a:t>Niveau</a:t>
            </a:r>
            <a:r>
              <a:rPr lang="en-US" dirty="0"/>
              <a:t> 4</a:t>
            </a:r>
          </a:p>
          <a:p>
            <a:pPr lvl="4"/>
            <a:r>
              <a:rPr lang="en-US" dirty="0" err="1"/>
              <a:t>Niveau</a:t>
            </a:r>
            <a:r>
              <a:rPr lang="en-US" dirty="0"/>
              <a:t> 5</a:t>
            </a:r>
            <a:endParaRPr lang="en-GB" dirty="0"/>
          </a:p>
        </p:txBody>
      </p:sp>
      <p:sp>
        <p:nvSpPr>
          <p:cNvPr id="3" name="Title 2">
            <a:extLst>
              <a:ext uri="{FF2B5EF4-FFF2-40B4-BE49-F238E27FC236}">
                <a16:creationId xmlns:a16="http://schemas.microsoft.com/office/drawing/2014/main" id="{29D07D11-4859-4E21-964B-B61752A83EF5}"/>
              </a:ext>
            </a:extLst>
          </p:cNvPr>
          <p:cNvSpPr>
            <a:spLocks noGrp="1"/>
          </p:cNvSpPr>
          <p:nvPr>
            <p:ph type="title" hasCustomPrompt="1"/>
          </p:nvPr>
        </p:nvSpPr>
        <p:spPr bwMode="gray">
          <a:xfrm>
            <a:off x="571500" y="285752"/>
            <a:ext cx="5382000" cy="1238248"/>
          </a:xfrm>
        </p:spPr>
        <p:txBody>
          <a:bodyPr/>
          <a:lstStyle>
            <a:lvl1pPr>
              <a:defRPr/>
            </a:lvl1pPr>
          </a:lstStyle>
          <a:p>
            <a:r>
              <a:rPr lang="nl-NL" dirty="0"/>
              <a:t>Klik om de titel aan te passen</a:t>
            </a:r>
          </a:p>
        </p:txBody>
      </p:sp>
      <p:sp>
        <p:nvSpPr>
          <p:cNvPr id="4" name="Footer Placeholder 3">
            <a:extLst>
              <a:ext uri="{FF2B5EF4-FFF2-40B4-BE49-F238E27FC236}">
                <a16:creationId xmlns:a16="http://schemas.microsoft.com/office/drawing/2014/main" id="{BCE21273-48D4-4CD3-97E4-B10DD76EAD5C}"/>
              </a:ext>
            </a:extLst>
          </p:cNvPr>
          <p:cNvSpPr>
            <a:spLocks noGrp="1"/>
          </p:cNvSpPr>
          <p:nvPr>
            <p:ph type="ftr" sz="quarter" idx="19"/>
          </p:nvPr>
        </p:nvSpPr>
        <p:spPr bwMode="gray"/>
        <p:txBody>
          <a:bodyPr/>
          <a:lstStyle/>
          <a:p>
            <a:r>
              <a:rPr lang="nl-NL"/>
              <a:t>Behoefte functionele migratie SMZ</a:t>
            </a:r>
            <a:endParaRPr lang="en-GB" dirty="0"/>
          </a:p>
        </p:txBody>
      </p:sp>
      <p:sp>
        <p:nvSpPr>
          <p:cNvPr id="5" name="Slide Number Placeholder 4">
            <a:extLst>
              <a:ext uri="{FF2B5EF4-FFF2-40B4-BE49-F238E27FC236}">
                <a16:creationId xmlns:a16="http://schemas.microsoft.com/office/drawing/2014/main" id="{2DC5B20D-6C7E-4B4E-8533-6FE40B3DDF2A}"/>
              </a:ext>
            </a:extLst>
          </p:cNvPr>
          <p:cNvSpPr>
            <a:spLocks noGrp="1"/>
          </p:cNvSpPr>
          <p:nvPr>
            <p:ph type="sldNum" sz="quarter" idx="20"/>
          </p:nvPr>
        </p:nvSpPr>
        <p:spPr bwMode="gray"/>
        <p:txBody>
          <a:bodyPr/>
          <a:lstStyle/>
          <a:p>
            <a:fld id="{EEC0F82C-4994-47DA-8D9B-99D78D224F6D}" type="slidenum">
              <a:rPr lang="en-GB" smtClean="0"/>
              <a:pPr/>
              <a:t>‹nr.›</a:t>
            </a:fld>
            <a:endParaRPr lang="en-GB" dirty="0"/>
          </a:p>
        </p:txBody>
      </p:sp>
      <p:sp>
        <p:nvSpPr>
          <p:cNvPr id="165" name="Content Placeholder 1">
            <a:extLst>
              <a:ext uri="{FF2B5EF4-FFF2-40B4-BE49-F238E27FC236}">
                <a16:creationId xmlns:a16="http://schemas.microsoft.com/office/drawing/2014/main" id="{3038F346-C3C7-4653-9D64-E62A8B0F32BB}"/>
              </a:ext>
            </a:extLst>
          </p:cNvPr>
          <p:cNvSpPr txBox="1">
            <a:spLocks/>
          </p:cNvSpPr>
          <p:nvPr userDrawn="1"/>
        </p:nvSpPr>
        <p:spPr bwMode="gray">
          <a:xfrm>
            <a:off x="12651266" y="0"/>
            <a:ext cx="2804400" cy="5114862"/>
          </a:xfrm>
          <a:prstGeom prst="rect">
            <a:avLst/>
          </a:prstGeom>
        </p:spPr>
        <p:txBody>
          <a:bodyPr lIns="0" tIns="0" rIns="0" bIns="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gn="l">
              <a:spcBef>
                <a:spcPts val="0"/>
              </a:spcBef>
            </a:pPr>
            <a:r>
              <a:rPr lang="nl-NL" sz="1100" b="1">
                <a:solidFill>
                  <a:schemeClr val="tx1"/>
                </a:solidFill>
              </a:rPr>
              <a:t>Gebruik van afbeeldingen als achtergrond</a:t>
            </a:r>
          </a:p>
          <a:p>
            <a:pPr algn="l">
              <a:spcBef>
                <a:spcPts val="0"/>
              </a:spcBef>
            </a:pPr>
            <a:endParaRPr lang="nl-NL" sz="1100" b="1">
              <a:solidFill>
                <a:schemeClr val="tx1"/>
              </a:solidFill>
            </a:endParaRPr>
          </a:p>
          <a:p>
            <a:pPr marL="171450" indent="-171450" algn="l">
              <a:spcBef>
                <a:spcPts val="0"/>
              </a:spcBef>
              <a:buFont typeface="Arial" panose="020B0604020202020204" pitchFamily="34" charset="0"/>
              <a:buChar char="•"/>
            </a:pPr>
            <a:r>
              <a:rPr lang="nl-NL" sz="1100" b="0">
                <a:solidFill>
                  <a:schemeClr val="tx1"/>
                </a:solidFill>
              </a:rPr>
              <a:t>Klik op het grijze afbeeldingsveld</a:t>
            </a:r>
          </a:p>
          <a:p>
            <a:pPr marL="171450" indent="-171450" algn="l">
              <a:spcBef>
                <a:spcPts val="0"/>
              </a:spcBef>
              <a:buFont typeface="Arial" panose="020B0604020202020204" pitchFamily="34" charset="0"/>
              <a:buChar char="•"/>
            </a:pPr>
            <a:r>
              <a:rPr lang="nl-NL" sz="1100" b="0">
                <a:solidFill>
                  <a:schemeClr val="tx1"/>
                </a:solidFill>
              </a:rPr>
              <a:t>Ga nu naar </a:t>
            </a:r>
            <a:r>
              <a:rPr lang="nl-NL" sz="1100" b="1">
                <a:solidFill>
                  <a:schemeClr val="tx1"/>
                </a:solidFill>
              </a:rPr>
              <a:t>‘Invoegen’ </a:t>
            </a:r>
            <a:r>
              <a:rPr lang="nl-NL" sz="1100" b="0">
                <a:solidFill>
                  <a:schemeClr val="tx1"/>
                </a:solidFill>
              </a:rPr>
              <a:t>en kies </a:t>
            </a:r>
            <a:r>
              <a:rPr lang="nl-NL" sz="1100" b="1">
                <a:solidFill>
                  <a:schemeClr val="tx1"/>
                </a:solidFill>
              </a:rPr>
              <a:t>‘Afbeeldingen’</a:t>
            </a:r>
            <a:r>
              <a:rPr lang="nl-NL" sz="1100" b="0">
                <a:solidFill>
                  <a:schemeClr val="tx1"/>
                </a:solidFill>
              </a:rPr>
              <a:t>. </a:t>
            </a:r>
          </a:p>
          <a:p>
            <a:pPr marL="171450" indent="-171450" algn="l">
              <a:spcBef>
                <a:spcPts val="0"/>
              </a:spcBef>
              <a:buFont typeface="Arial" panose="020B0604020202020204" pitchFamily="34" charset="0"/>
              <a:buChar char="•"/>
            </a:pPr>
            <a:r>
              <a:rPr lang="nl-NL" sz="1100" b="0">
                <a:solidFill>
                  <a:schemeClr val="tx1"/>
                </a:solidFill>
              </a:rPr>
              <a:t>Kies een afbeelding, klik op </a:t>
            </a:r>
            <a:r>
              <a:rPr lang="nl-NL" sz="1100" b="1">
                <a:solidFill>
                  <a:schemeClr val="tx1"/>
                </a:solidFill>
              </a:rPr>
              <a:t>‘Invoegen’ </a:t>
            </a:r>
            <a:r>
              <a:rPr lang="nl-NL" sz="1100" b="0">
                <a:solidFill>
                  <a:schemeClr val="tx1"/>
                </a:solidFill>
              </a:rPr>
              <a:t>en de afbeelding wordt geplaatst.</a:t>
            </a:r>
          </a:p>
          <a:p>
            <a:pPr marL="171450" indent="-171450" algn="l">
              <a:spcBef>
                <a:spcPts val="0"/>
              </a:spcBef>
              <a:buFont typeface="Arial" panose="020B0604020202020204" pitchFamily="34" charset="0"/>
              <a:buChar char="•"/>
            </a:pPr>
            <a:r>
              <a:rPr lang="nl-NL" sz="1100" b="0">
                <a:solidFill>
                  <a:schemeClr val="tx1"/>
                </a:solidFill>
              </a:rPr>
              <a:t>Wil je een uitsnede maken, selecteer dan de foto door erop te klikken en gebruik de crop- functie onder </a:t>
            </a:r>
            <a:r>
              <a:rPr lang="nl-NL" sz="1100" b="1">
                <a:solidFill>
                  <a:schemeClr val="tx1"/>
                </a:solidFill>
              </a:rPr>
              <a:t>‘Opmaak’/’Bijsnijden’</a:t>
            </a:r>
            <a:r>
              <a:rPr lang="nl-NL" sz="1100" b="0">
                <a:solidFill>
                  <a:schemeClr val="tx1"/>
                </a:solidFill>
              </a:rPr>
              <a:t>.</a:t>
            </a:r>
          </a:p>
          <a:p>
            <a:pPr marL="171450" indent="-171450" algn="l">
              <a:spcBef>
                <a:spcPts val="0"/>
              </a:spcBef>
              <a:buFont typeface="Arial" panose="020B0604020202020204" pitchFamily="34" charset="0"/>
              <a:buChar cha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r>
              <a:rPr lang="nl-NL" sz="1100" b="0">
                <a:solidFill>
                  <a:schemeClr val="tx1"/>
                </a:solidFill>
              </a:rPr>
              <a:t>Foto’s kun je kiezen uit de</a:t>
            </a:r>
            <a:r>
              <a:rPr lang="nl-NL" sz="1100" b="0" baseline="0">
                <a:solidFill>
                  <a:schemeClr val="tx1"/>
                </a:solidFill>
              </a:rPr>
              <a:t> </a:t>
            </a:r>
            <a:r>
              <a:rPr lang="nl-NL" sz="1100" b="1" baseline="0">
                <a:solidFill>
                  <a:schemeClr val="tx1"/>
                </a:solidFill>
              </a:rPr>
              <a:t>Mediabank in het UWV Communicatieportaal</a:t>
            </a:r>
            <a:r>
              <a:rPr lang="nl-NL" sz="1100" b="0" baseline="0">
                <a:solidFill>
                  <a:schemeClr val="tx1"/>
                </a:solidFill>
              </a:rPr>
              <a:t>. Deze foto’s zijn van hoge kwaliteit en hiervan is het intellectueel eigendom geregeld. </a:t>
            </a:r>
            <a:br>
              <a:rPr lang="nl-NL" sz="1100" b="0" baseline="0">
                <a:solidFill>
                  <a:schemeClr val="tx1"/>
                </a:solidFill>
              </a:rPr>
            </a:br>
            <a:br>
              <a:rPr lang="nl-NL" sz="1100" b="0" baseline="0">
                <a:solidFill>
                  <a:schemeClr val="tx1"/>
                </a:solidFill>
              </a:rPr>
            </a:br>
            <a:r>
              <a:rPr lang="nl-NL" sz="1100" b="0">
                <a:solidFill>
                  <a:schemeClr val="tx1"/>
                </a:solidFill>
                <a:hlinkClick r:id="rId3"/>
              </a:rPr>
              <a:t>https://communicatieportaal.uwv.nl/modules/product/mediabank/default/?ItemId=3219</a:t>
            </a:r>
            <a:r>
              <a:rPr lang="nl-NL" sz="1100" b="0">
                <a:solidFill>
                  <a:schemeClr val="tx1"/>
                </a:solidFill>
              </a:rPr>
              <a:t> </a:t>
            </a:r>
            <a:br>
              <a:rPr lang="nl-NL" sz="1100" b="0">
                <a:solidFill>
                  <a:schemeClr val="tx1"/>
                </a:solidFill>
              </a:rPr>
            </a:br>
            <a:br>
              <a:rPr lang="nl-NL" sz="1100" b="0">
                <a:solidFill>
                  <a:schemeClr val="tx1"/>
                </a:solidFill>
              </a:rPr>
            </a:br>
            <a:r>
              <a:rPr lang="nl-NL" sz="1100" b="0">
                <a:solidFill>
                  <a:schemeClr val="tx1"/>
                </a:solidFill>
              </a:rPr>
              <a:t>en daar waar relevant naar de pictogrammen in de mediabank: </a:t>
            </a:r>
            <a:br>
              <a:rPr lang="nl-NL" sz="1100" b="0">
                <a:solidFill>
                  <a:schemeClr val="tx1"/>
                </a:solidFill>
              </a:rPr>
            </a:br>
            <a:br>
              <a:rPr lang="nl-NL" sz="1100" b="0">
                <a:solidFill>
                  <a:schemeClr val="tx1"/>
                </a:solidFill>
              </a:rPr>
            </a:br>
            <a:r>
              <a:rPr lang="nl-NL" sz="1100" b="0">
                <a:solidFill>
                  <a:schemeClr val="tx1"/>
                </a:solidFill>
                <a:hlinkClick r:id="rId4"/>
              </a:rPr>
              <a:t>https://communicatieportaal.uwv.nl/modules/product/default/media/?ItemId=3217</a:t>
            </a:r>
            <a:endParaRPr lang="nl-NL" sz="1100" b="0" dirty="0">
              <a:solidFill>
                <a:schemeClr val="tx1"/>
              </a:solidFill>
            </a:endParaRPr>
          </a:p>
        </p:txBody>
      </p:sp>
    </p:spTree>
    <p:extLst>
      <p:ext uri="{BB962C8B-B14F-4D97-AF65-F5344CB8AC3E}">
        <p14:creationId xmlns:p14="http://schemas.microsoft.com/office/powerpoint/2010/main" val="21786714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eeldvullende afbeelding">
    <p:bg>
      <p:bgPr>
        <a:solidFill>
          <a:srgbClr val="B9E2FF"/>
        </a:solidFill>
        <a:effectLst/>
      </p:bgPr>
    </p:bg>
    <p:spTree>
      <p:nvGrpSpPr>
        <p:cNvPr id="1" name=""/>
        <p:cNvGrpSpPr/>
        <p:nvPr/>
      </p:nvGrpSpPr>
      <p:grpSpPr>
        <a:xfrm>
          <a:off x="0" y="0"/>
          <a:ext cx="0" cy="0"/>
          <a:chOff x="0" y="0"/>
          <a:chExt cx="0" cy="0"/>
        </a:xfrm>
      </p:grpSpPr>
      <p:sp>
        <p:nvSpPr>
          <p:cNvPr id="155" name="Rectangle 154">
            <a:extLst>
              <a:ext uri="{FF2B5EF4-FFF2-40B4-BE49-F238E27FC236}">
                <a16:creationId xmlns:a16="http://schemas.microsoft.com/office/drawing/2014/main" id="{E429500C-75C4-49A1-92C0-AED11842E66C}"/>
              </a:ext>
            </a:extLst>
          </p:cNvPr>
          <p:cNvSpPr/>
          <p:nvPr userDrawn="1"/>
        </p:nvSpPr>
        <p:spPr bwMode="gray">
          <a:xfrm>
            <a:off x="-3714750" y="-933450"/>
            <a:ext cx="19621500" cy="87249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2" name="Text Placeholder 3">
            <a:extLst>
              <a:ext uri="{FF2B5EF4-FFF2-40B4-BE49-F238E27FC236}">
                <a16:creationId xmlns:a16="http://schemas.microsoft.com/office/drawing/2014/main" id="{094E1847-CB27-4234-AA50-0C092527D31D}"/>
              </a:ext>
            </a:extLst>
          </p:cNvPr>
          <p:cNvSpPr txBox="1">
            <a:spLocks/>
          </p:cNvSpPr>
          <p:nvPr userDrawn="1"/>
        </p:nvSpPr>
        <p:spPr bwMode="gray">
          <a:xfrm>
            <a:off x="11047668" y="6285600"/>
            <a:ext cx="572400" cy="572400"/>
          </a:xfrm>
          <a:prstGeom prst="rect">
            <a:avLst/>
          </a:prstGeom>
          <a:blipFill>
            <a:blip r:embed="rId2"/>
            <a:stretch>
              <a:fillRect/>
            </a:stretch>
          </a:blipFill>
          <a:ln>
            <a:solidFill>
              <a:srgbClr val="0078D2"/>
            </a:solidFill>
          </a:ln>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
        <p:nvSpPr>
          <p:cNvPr id="156" name="Picture Placeholder 155">
            <a:extLst>
              <a:ext uri="{FF2B5EF4-FFF2-40B4-BE49-F238E27FC236}">
                <a16:creationId xmlns:a16="http://schemas.microsoft.com/office/drawing/2014/main" id="{A5F10479-2DE2-4C14-9EA3-A4207617EE6C}"/>
              </a:ext>
            </a:extLst>
          </p:cNvPr>
          <p:cNvSpPr>
            <a:spLocks noGrp="1"/>
          </p:cNvSpPr>
          <p:nvPr>
            <p:ph type="pic" sz="quarter" idx="14" hasCustomPrompt="1"/>
          </p:nvPr>
        </p:nvSpPr>
        <p:spPr bwMode="gray">
          <a:xfrm>
            <a:off x="-600" y="5"/>
            <a:ext cx="12193200" cy="6857995"/>
          </a:xfrm>
          <a:custGeom>
            <a:avLst/>
            <a:gdLst>
              <a:gd name="connsiteX0" fmla="*/ 0 w 12193200"/>
              <a:gd name="connsiteY0" fmla="*/ 0 h 6857995"/>
              <a:gd name="connsiteX1" fmla="*/ 12193200 w 12193200"/>
              <a:gd name="connsiteY1" fmla="*/ 0 h 6857995"/>
              <a:gd name="connsiteX2" fmla="*/ 12193200 w 12193200"/>
              <a:gd name="connsiteY2" fmla="*/ 6857995 h 6857995"/>
              <a:gd name="connsiteX3" fmla="*/ 11620668 w 12193200"/>
              <a:gd name="connsiteY3" fmla="*/ 6857995 h 6857995"/>
              <a:gd name="connsiteX4" fmla="*/ 11620668 w 12193200"/>
              <a:gd name="connsiteY4" fmla="*/ 6285596 h 6857995"/>
              <a:gd name="connsiteX5" fmla="*/ 11048268 w 12193200"/>
              <a:gd name="connsiteY5" fmla="*/ 6285596 h 6857995"/>
              <a:gd name="connsiteX6" fmla="*/ 11048268 w 12193200"/>
              <a:gd name="connsiteY6" fmla="*/ 6857995 h 6857995"/>
              <a:gd name="connsiteX7" fmla="*/ 0 w 12193200"/>
              <a:gd name="connsiteY7" fmla="*/ 6857995 h 685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7995">
                <a:moveTo>
                  <a:pt x="0" y="0"/>
                </a:moveTo>
                <a:lnTo>
                  <a:pt x="12193200" y="0"/>
                </a:lnTo>
                <a:lnTo>
                  <a:pt x="12193200" y="6857995"/>
                </a:lnTo>
                <a:lnTo>
                  <a:pt x="11620668" y="6857995"/>
                </a:lnTo>
                <a:lnTo>
                  <a:pt x="11620668" y="6285596"/>
                </a:lnTo>
                <a:lnTo>
                  <a:pt x="11048268" y="6285596"/>
                </a:lnTo>
                <a:lnTo>
                  <a:pt x="11048268" y="6857995"/>
                </a:lnTo>
                <a:lnTo>
                  <a:pt x="0" y="6857995"/>
                </a:lnTo>
                <a:close/>
              </a:path>
            </a:pathLst>
          </a:custGeom>
          <a:solidFill>
            <a:srgbClr val="CCCCCC"/>
          </a:solidFill>
        </p:spPr>
        <p:txBody>
          <a:bodyPr wrap="square" lIns="0" tIns="0" rIns="0" bIns="1116000" anchor="ctr" anchorCtr="0">
            <a:noAutofit/>
          </a:bodyPr>
          <a:lstStyle>
            <a:lvl1pPr marL="0" indent="0" algn="ctr">
              <a:spcAft>
                <a:spcPts val="0"/>
              </a:spcAft>
              <a:buNone/>
              <a:defRPr/>
            </a:lvl1pPr>
          </a:lstStyle>
          <a:p>
            <a:r>
              <a:rPr lang="nl-NL" dirty="0"/>
              <a:t>Klik om foto toe te voegen.</a:t>
            </a:r>
            <a:br>
              <a:rPr lang="nl-NL" dirty="0"/>
            </a:br>
            <a:endParaRPr lang="nl-NL" dirty="0"/>
          </a:p>
        </p:txBody>
      </p:sp>
      <p:grpSp>
        <p:nvGrpSpPr>
          <p:cNvPr id="8" name="Group 7">
            <a:extLst>
              <a:ext uri="{FF2B5EF4-FFF2-40B4-BE49-F238E27FC236}">
                <a16:creationId xmlns:a16="http://schemas.microsoft.com/office/drawing/2014/main" id="{FA590D1E-0A63-4761-BDD2-C2BB5BEABC7B}"/>
              </a:ext>
            </a:extLst>
          </p:cNvPr>
          <p:cNvGrpSpPr/>
          <p:nvPr userDrawn="1"/>
        </p:nvGrpSpPr>
        <p:grpSpPr bwMode="gray">
          <a:xfrm>
            <a:off x="-329239" y="-319423"/>
            <a:ext cx="12846009" cy="7500113"/>
            <a:chOff x="-329239" y="-319423"/>
            <a:chExt cx="12846009" cy="7500113"/>
          </a:xfrm>
        </p:grpSpPr>
        <p:grpSp>
          <p:nvGrpSpPr>
            <p:cNvPr id="9" name="Group 8">
              <a:extLst>
                <a:ext uri="{FF2B5EF4-FFF2-40B4-BE49-F238E27FC236}">
                  <a16:creationId xmlns:a16="http://schemas.microsoft.com/office/drawing/2014/main" id="{386430A9-DBC4-46A6-8F5C-BA279FEB1F7D}"/>
                </a:ext>
              </a:extLst>
            </p:cNvPr>
            <p:cNvGrpSpPr/>
            <p:nvPr userDrawn="1"/>
          </p:nvGrpSpPr>
          <p:grpSpPr bwMode="gray">
            <a:xfrm>
              <a:off x="-329239" y="0"/>
              <a:ext cx="240289" cy="6858000"/>
              <a:chOff x="-319714" y="0"/>
              <a:chExt cx="240289" cy="6858000"/>
            </a:xfrm>
          </p:grpSpPr>
          <p:sp>
            <p:nvSpPr>
              <p:cNvPr id="127" name="Line 230">
                <a:extLst>
                  <a:ext uri="{FF2B5EF4-FFF2-40B4-BE49-F238E27FC236}">
                    <a16:creationId xmlns:a16="http://schemas.microsoft.com/office/drawing/2014/main" id="{19CC4D11-AF90-4D65-A974-DCF550D3FC17}"/>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8" name="Line 232">
                <a:extLst>
                  <a:ext uri="{FF2B5EF4-FFF2-40B4-BE49-F238E27FC236}">
                    <a16:creationId xmlns:a16="http://schemas.microsoft.com/office/drawing/2014/main" id="{4FF3DDC8-B243-4587-8C25-8842125E5A7B}"/>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9" name="Line 234">
                <a:extLst>
                  <a:ext uri="{FF2B5EF4-FFF2-40B4-BE49-F238E27FC236}">
                    <a16:creationId xmlns:a16="http://schemas.microsoft.com/office/drawing/2014/main" id="{FAB6E515-A4F4-4A66-91C1-6A33B01C7F57}"/>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30" name="Line 236">
                <a:extLst>
                  <a:ext uri="{FF2B5EF4-FFF2-40B4-BE49-F238E27FC236}">
                    <a16:creationId xmlns:a16="http://schemas.microsoft.com/office/drawing/2014/main" id="{FDC1888B-F13C-4906-AF3F-7B500677BA13}"/>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1" name="Line 238">
                <a:extLst>
                  <a:ext uri="{FF2B5EF4-FFF2-40B4-BE49-F238E27FC236}">
                    <a16:creationId xmlns:a16="http://schemas.microsoft.com/office/drawing/2014/main" id="{B781A489-299B-4D4D-96B1-0E5D8F8DBC35}"/>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2" name="Line 240">
                <a:extLst>
                  <a:ext uri="{FF2B5EF4-FFF2-40B4-BE49-F238E27FC236}">
                    <a16:creationId xmlns:a16="http://schemas.microsoft.com/office/drawing/2014/main" id="{D143D7CC-2D27-4EB4-B87A-771AFF0E0F8E}"/>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3" name="Line 244">
                <a:extLst>
                  <a:ext uri="{FF2B5EF4-FFF2-40B4-BE49-F238E27FC236}">
                    <a16:creationId xmlns:a16="http://schemas.microsoft.com/office/drawing/2014/main" id="{E0FF9E74-40E8-4490-90A9-7F9A0AAFFB76}"/>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4" name="Line 246">
                <a:extLst>
                  <a:ext uri="{FF2B5EF4-FFF2-40B4-BE49-F238E27FC236}">
                    <a16:creationId xmlns:a16="http://schemas.microsoft.com/office/drawing/2014/main" id="{2B58D912-5F15-4E35-AAA1-4D49952E0E16}"/>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5" name="Line 250">
                <a:extLst>
                  <a:ext uri="{FF2B5EF4-FFF2-40B4-BE49-F238E27FC236}">
                    <a16:creationId xmlns:a16="http://schemas.microsoft.com/office/drawing/2014/main" id="{22972F6B-8CAE-47E2-8617-0CC30C6B53FB}"/>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6" name="Line 252">
                <a:extLst>
                  <a:ext uri="{FF2B5EF4-FFF2-40B4-BE49-F238E27FC236}">
                    <a16:creationId xmlns:a16="http://schemas.microsoft.com/office/drawing/2014/main" id="{953BAC56-999A-4C42-8E55-54F0E5E2FBCB}"/>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7" name="Line 254">
                <a:extLst>
                  <a:ext uri="{FF2B5EF4-FFF2-40B4-BE49-F238E27FC236}">
                    <a16:creationId xmlns:a16="http://schemas.microsoft.com/office/drawing/2014/main" id="{D64ECCF2-1B02-4644-9695-4B1436B4227E}"/>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8" name="Line 256">
                <a:extLst>
                  <a:ext uri="{FF2B5EF4-FFF2-40B4-BE49-F238E27FC236}">
                    <a16:creationId xmlns:a16="http://schemas.microsoft.com/office/drawing/2014/main" id="{B69E0E3C-3EFC-4800-BE52-89972B0212DB}"/>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9" name="Line 258">
                <a:extLst>
                  <a:ext uri="{FF2B5EF4-FFF2-40B4-BE49-F238E27FC236}">
                    <a16:creationId xmlns:a16="http://schemas.microsoft.com/office/drawing/2014/main" id="{DA206C71-D419-4633-A75A-606754A274C5}"/>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0" name="Line 260">
                <a:extLst>
                  <a:ext uri="{FF2B5EF4-FFF2-40B4-BE49-F238E27FC236}">
                    <a16:creationId xmlns:a16="http://schemas.microsoft.com/office/drawing/2014/main" id="{2D405FFA-8DCF-42C4-920E-D49FA1DE0C9F}"/>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1" name="Line 262">
                <a:extLst>
                  <a:ext uri="{FF2B5EF4-FFF2-40B4-BE49-F238E27FC236}">
                    <a16:creationId xmlns:a16="http://schemas.microsoft.com/office/drawing/2014/main" id="{59DBF2BB-6768-4BD3-B67A-8AB61782FF9C}"/>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2" name="Line 264">
                <a:extLst>
                  <a:ext uri="{FF2B5EF4-FFF2-40B4-BE49-F238E27FC236}">
                    <a16:creationId xmlns:a16="http://schemas.microsoft.com/office/drawing/2014/main" id="{4EF0BA63-1C79-4771-A308-15D371F29511}"/>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3" name="Line 266">
                <a:extLst>
                  <a:ext uri="{FF2B5EF4-FFF2-40B4-BE49-F238E27FC236}">
                    <a16:creationId xmlns:a16="http://schemas.microsoft.com/office/drawing/2014/main" id="{249F983F-B804-4381-A9F6-61A37D729E18}"/>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4" name="Line 268">
                <a:extLst>
                  <a:ext uri="{FF2B5EF4-FFF2-40B4-BE49-F238E27FC236}">
                    <a16:creationId xmlns:a16="http://schemas.microsoft.com/office/drawing/2014/main" id="{D3D19DAC-03F1-4C2E-AB78-6BB09BFE174F}"/>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5" name="Line 270">
                <a:extLst>
                  <a:ext uri="{FF2B5EF4-FFF2-40B4-BE49-F238E27FC236}">
                    <a16:creationId xmlns:a16="http://schemas.microsoft.com/office/drawing/2014/main" id="{5EBA7883-5CB6-4067-96F6-8FF262860879}"/>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6" name="Line 272">
                <a:extLst>
                  <a:ext uri="{FF2B5EF4-FFF2-40B4-BE49-F238E27FC236}">
                    <a16:creationId xmlns:a16="http://schemas.microsoft.com/office/drawing/2014/main" id="{45A7A2F1-4AE8-407C-B85C-CF25D9C444F8}"/>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7" name="Line 274">
                <a:extLst>
                  <a:ext uri="{FF2B5EF4-FFF2-40B4-BE49-F238E27FC236}">
                    <a16:creationId xmlns:a16="http://schemas.microsoft.com/office/drawing/2014/main" id="{87ED207E-93F2-4546-A8F0-29A45BC7F762}"/>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8" name="Line 276">
                <a:extLst>
                  <a:ext uri="{FF2B5EF4-FFF2-40B4-BE49-F238E27FC236}">
                    <a16:creationId xmlns:a16="http://schemas.microsoft.com/office/drawing/2014/main" id="{FB08645A-99BC-445C-A01E-5E2CA2864E73}"/>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9" name="Line 278">
                <a:extLst>
                  <a:ext uri="{FF2B5EF4-FFF2-40B4-BE49-F238E27FC236}">
                    <a16:creationId xmlns:a16="http://schemas.microsoft.com/office/drawing/2014/main" id="{0D43E30A-0955-4C3A-9FEF-B82C0A94C5C2}"/>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0" name="Line 256">
                <a:extLst>
                  <a:ext uri="{FF2B5EF4-FFF2-40B4-BE49-F238E27FC236}">
                    <a16:creationId xmlns:a16="http://schemas.microsoft.com/office/drawing/2014/main" id="{CB1B5E92-E66E-4BFE-A93A-0F18C701DF78}"/>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1" name="Line 234">
                <a:extLst>
                  <a:ext uri="{FF2B5EF4-FFF2-40B4-BE49-F238E27FC236}">
                    <a16:creationId xmlns:a16="http://schemas.microsoft.com/office/drawing/2014/main" id="{2076B412-511C-4E43-B720-9DFDECF4846E}"/>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10" name="Group 9">
              <a:extLst>
                <a:ext uri="{FF2B5EF4-FFF2-40B4-BE49-F238E27FC236}">
                  <a16:creationId xmlns:a16="http://schemas.microsoft.com/office/drawing/2014/main" id="{16F50E83-D56F-4648-A84B-CB9418CD51FC}"/>
                </a:ext>
              </a:extLst>
            </p:cNvPr>
            <p:cNvGrpSpPr/>
            <p:nvPr userDrawn="1"/>
          </p:nvGrpSpPr>
          <p:grpSpPr bwMode="gray">
            <a:xfrm>
              <a:off x="0" y="-319423"/>
              <a:ext cx="12192000" cy="232538"/>
              <a:chOff x="0" y="-319423"/>
              <a:chExt cx="12192000" cy="232538"/>
            </a:xfrm>
          </p:grpSpPr>
          <p:sp>
            <p:nvSpPr>
              <p:cNvPr id="83" name="Line 146">
                <a:extLst>
                  <a:ext uri="{FF2B5EF4-FFF2-40B4-BE49-F238E27FC236}">
                    <a16:creationId xmlns:a16="http://schemas.microsoft.com/office/drawing/2014/main" id="{63D796CB-46CC-49DB-9BCE-27BA3BA8E108}"/>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4" name="Line 148">
                <a:extLst>
                  <a:ext uri="{FF2B5EF4-FFF2-40B4-BE49-F238E27FC236}">
                    <a16:creationId xmlns:a16="http://schemas.microsoft.com/office/drawing/2014/main" id="{4C872157-9E05-49EA-B528-9E4C65DFB842}"/>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5" name="Line 150">
                <a:extLst>
                  <a:ext uri="{FF2B5EF4-FFF2-40B4-BE49-F238E27FC236}">
                    <a16:creationId xmlns:a16="http://schemas.microsoft.com/office/drawing/2014/main" id="{BA7A64A3-36D0-4F4F-848A-5B3C68470C44}"/>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6" name="Line 152">
                <a:extLst>
                  <a:ext uri="{FF2B5EF4-FFF2-40B4-BE49-F238E27FC236}">
                    <a16:creationId xmlns:a16="http://schemas.microsoft.com/office/drawing/2014/main" id="{A336139C-1615-4D0B-929C-4A7B417B57CF}"/>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7" name="Line 154">
                <a:extLst>
                  <a:ext uri="{FF2B5EF4-FFF2-40B4-BE49-F238E27FC236}">
                    <a16:creationId xmlns:a16="http://schemas.microsoft.com/office/drawing/2014/main" id="{05E2F5F9-CC93-41AD-805D-BAB4E882C4A0}"/>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8" name="Line 156">
                <a:extLst>
                  <a:ext uri="{FF2B5EF4-FFF2-40B4-BE49-F238E27FC236}">
                    <a16:creationId xmlns:a16="http://schemas.microsoft.com/office/drawing/2014/main" id="{716B9FC8-A237-440A-921B-430F99EB787F}"/>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9" name="Line 158">
                <a:extLst>
                  <a:ext uri="{FF2B5EF4-FFF2-40B4-BE49-F238E27FC236}">
                    <a16:creationId xmlns:a16="http://schemas.microsoft.com/office/drawing/2014/main" id="{C4E7D6D6-B2BF-4CE0-BF49-6228A23B0350}"/>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0" name="Line 160">
                <a:extLst>
                  <a:ext uri="{FF2B5EF4-FFF2-40B4-BE49-F238E27FC236}">
                    <a16:creationId xmlns:a16="http://schemas.microsoft.com/office/drawing/2014/main" id="{69D14707-DEB5-46C8-84DB-D3D772B14AB7}"/>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1" name="Line 162">
                <a:extLst>
                  <a:ext uri="{FF2B5EF4-FFF2-40B4-BE49-F238E27FC236}">
                    <a16:creationId xmlns:a16="http://schemas.microsoft.com/office/drawing/2014/main" id="{D6E8DCE4-C34C-4F44-88A5-537AEFBDFF26}"/>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2" name="Line 164">
                <a:extLst>
                  <a:ext uri="{FF2B5EF4-FFF2-40B4-BE49-F238E27FC236}">
                    <a16:creationId xmlns:a16="http://schemas.microsoft.com/office/drawing/2014/main" id="{1770D305-05C9-4F3E-829C-437A735D7705}"/>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3" name="Line 166">
                <a:extLst>
                  <a:ext uri="{FF2B5EF4-FFF2-40B4-BE49-F238E27FC236}">
                    <a16:creationId xmlns:a16="http://schemas.microsoft.com/office/drawing/2014/main" id="{AC18F2E7-C4CB-484B-AE5F-0E57884BCADA}"/>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4" name="Line 168">
                <a:extLst>
                  <a:ext uri="{FF2B5EF4-FFF2-40B4-BE49-F238E27FC236}">
                    <a16:creationId xmlns:a16="http://schemas.microsoft.com/office/drawing/2014/main" id="{F2F0DB71-4CD7-4FB5-8854-BC420D85ECA5}"/>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5" name="Line 170">
                <a:extLst>
                  <a:ext uri="{FF2B5EF4-FFF2-40B4-BE49-F238E27FC236}">
                    <a16:creationId xmlns:a16="http://schemas.microsoft.com/office/drawing/2014/main" id="{F5CFF56D-C4C1-47A3-8258-C602B9E29A08}"/>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6" name="Line 172">
                <a:extLst>
                  <a:ext uri="{FF2B5EF4-FFF2-40B4-BE49-F238E27FC236}">
                    <a16:creationId xmlns:a16="http://schemas.microsoft.com/office/drawing/2014/main" id="{B6F715BA-7583-4BD4-81B1-F318EB4F239E}"/>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7" name="Line 174">
                <a:extLst>
                  <a:ext uri="{FF2B5EF4-FFF2-40B4-BE49-F238E27FC236}">
                    <a16:creationId xmlns:a16="http://schemas.microsoft.com/office/drawing/2014/main" id="{B573EF2E-0FC8-4E32-A623-86D501137635}"/>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8" name="Line 176">
                <a:extLst>
                  <a:ext uri="{FF2B5EF4-FFF2-40B4-BE49-F238E27FC236}">
                    <a16:creationId xmlns:a16="http://schemas.microsoft.com/office/drawing/2014/main" id="{875139BF-F659-4F14-85A3-9DFF1FACAE0D}"/>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9" name="Line 178">
                <a:extLst>
                  <a:ext uri="{FF2B5EF4-FFF2-40B4-BE49-F238E27FC236}">
                    <a16:creationId xmlns:a16="http://schemas.microsoft.com/office/drawing/2014/main" id="{C6C9C745-4895-4452-988F-6BE5AF49B6D9}"/>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0" name="Line 180">
                <a:extLst>
                  <a:ext uri="{FF2B5EF4-FFF2-40B4-BE49-F238E27FC236}">
                    <a16:creationId xmlns:a16="http://schemas.microsoft.com/office/drawing/2014/main" id="{752569A2-CD35-4C84-B554-E50C39FCEDA8}"/>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1" name="Line 182">
                <a:extLst>
                  <a:ext uri="{FF2B5EF4-FFF2-40B4-BE49-F238E27FC236}">
                    <a16:creationId xmlns:a16="http://schemas.microsoft.com/office/drawing/2014/main" id="{98F81751-0293-4E32-BB3B-004DEC0089EC}"/>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2" name="Line 184">
                <a:extLst>
                  <a:ext uri="{FF2B5EF4-FFF2-40B4-BE49-F238E27FC236}">
                    <a16:creationId xmlns:a16="http://schemas.microsoft.com/office/drawing/2014/main" id="{55ED0924-B682-49ED-8CBE-AD2E695F9DBC}"/>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3" name="Line 186">
                <a:extLst>
                  <a:ext uri="{FF2B5EF4-FFF2-40B4-BE49-F238E27FC236}">
                    <a16:creationId xmlns:a16="http://schemas.microsoft.com/office/drawing/2014/main" id="{5235A124-E0A9-405A-8CC2-21BA1ED8DC4F}"/>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4" name="Line 188">
                <a:extLst>
                  <a:ext uri="{FF2B5EF4-FFF2-40B4-BE49-F238E27FC236}">
                    <a16:creationId xmlns:a16="http://schemas.microsoft.com/office/drawing/2014/main" id="{F94B900A-CF49-4660-A98C-1452A1A02A48}"/>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5" name="Line 190">
                <a:extLst>
                  <a:ext uri="{FF2B5EF4-FFF2-40B4-BE49-F238E27FC236}">
                    <a16:creationId xmlns:a16="http://schemas.microsoft.com/office/drawing/2014/main" id="{69B32C41-43E4-4DCC-AE34-B305D0947C52}"/>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6" name="Line 192">
                <a:extLst>
                  <a:ext uri="{FF2B5EF4-FFF2-40B4-BE49-F238E27FC236}">
                    <a16:creationId xmlns:a16="http://schemas.microsoft.com/office/drawing/2014/main" id="{F70BB557-694E-40A6-A789-D539FAED7A45}"/>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7" name="Line 194">
                <a:extLst>
                  <a:ext uri="{FF2B5EF4-FFF2-40B4-BE49-F238E27FC236}">
                    <a16:creationId xmlns:a16="http://schemas.microsoft.com/office/drawing/2014/main" id="{47E4B53C-E785-4C2B-A348-C6EC8E14911F}"/>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8" name="Line 196">
                <a:extLst>
                  <a:ext uri="{FF2B5EF4-FFF2-40B4-BE49-F238E27FC236}">
                    <a16:creationId xmlns:a16="http://schemas.microsoft.com/office/drawing/2014/main" id="{1F33514F-2EF4-4331-BA5F-60BB450A9237}"/>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9" name="Line 198">
                <a:extLst>
                  <a:ext uri="{FF2B5EF4-FFF2-40B4-BE49-F238E27FC236}">
                    <a16:creationId xmlns:a16="http://schemas.microsoft.com/office/drawing/2014/main" id="{5965C3CB-F317-44C9-A345-24DB4F8C8C79}"/>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0" name="Line 200">
                <a:extLst>
                  <a:ext uri="{FF2B5EF4-FFF2-40B4-BE49-F238E27FC236}">
                    <a16:creationId xmlns:a16="http://schemas.microsoft.com/office/drawing/2014/main" id="{A83EE1BE-EA64-41D9-95EC-8350BF8EE05B}"/>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1" name="Line 202">
                <a:extLst>
                  <a:ext uri="{FF2B5EF4-FFF2-40B4-BE49-F238E27FC236}">
                    <a16:creationId xmlns:a16="http://schemas.microsoft.com/office/drawing/2014/main" id="{1F6EE955-A826-47D0-AA63-C1EC020BD6E9}"/>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2" name="Line 204">
                <a:extLst>
                  <a:ext uri="{FF2B5EF4-FFF2-40B4-BE49-F238E27FC236}">
                    <a16:creationId xmlns:a16="http://schemas.microsoft.com/office/drawing/2014/main" id="{D845EAEC-2D2E-4779-BE01-C8F21DE173BC}"/>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3" name="Line 206">
                <a:extLst>
                  <a:ext uri="{FF2B5EF4-FFF2-40B4-BE49-F238E27FC236}">
                    <a16:creationId xmlns:a16="http://schemas.microsoft.com/office/drawing/2014/main" id="{64BD5CF0-3A07-45D0-B799-603C17C4DDF5}"/>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4" name="Line 208">
                <a:extLst>
                  <a:ext uri="{FF2B5EF4-FFF2-40B4-BE49-F238E27FC236}">
                    <a16:creationId xmlns:a16="http://schemas.microsoft.com/office/drawing/2014/main" id="{C5DFA7AD-75B0-4F93-89F9-F8BD1309AC82}"/>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5" name="Line 210">
                <a:extLst>
                  <a:ext uri="{FF2B5EF4-FFF2-40B4-BE49-F238E27FC236}">
                    <a16:creationId xmlns:a16="http://schemas.microsoft.com/office/drawing/2014/main" id="{5EE1BFEF-8853-4D3F-96F5-44055BFBA9A4}"/>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6" name="Line 212">
                <a:extLst>
                  <a:ext uri="{FF2B5EF4-FFF2-40B4-BE49-F238E27FC236}">
                    <a16:creationId xmlns:a16="http://schemas.microsoft.com/office/drawing/2014/main" id="{BBBC4FB5-7D37-46A6-9429-E34C6672661C}"/>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7" name="Line 214">
                <a:extLst>
                  <a:ext uri="{FF2B5EF4-FFF2-40B4-BE49-F238E27FC236}">
                    <a16:creationId xmlns:a16="http://schemas.microsoft.com/office/drawing/2014/main" id="{E5586302-512E-47AE-B087-6179B8DFE8E2}"/>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8" name="Line 216">
                <a:extLst>
                  <a:ext uri="{FF2B5EF4-FFF2-40B4-BE49-F238E27FC236}">
                    <a16:creationId xmlns:a16="http://schemas.microsoft.com/office/drawing/2014/main" id="{F37EB0B4-E2E0-42BB-85AD-EE60AA278E41}"/>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9" name="Line 218">
                <a:extLst>
                  <a:ext uri="{FF2B5EF4-FFF2-40B4-BE49-F238E27FC236}">
                    <a16:creationId xmlns:a16="http://schemas.microsoft.com/office/drawing/2014/main" id="{C839FA3E-5F04-4D3C-BF73-216D47B2CE85}"/>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0" name="Line 220">
                <a:extLst>
                  <a:ext uri="{FF2B5EF4-FFF2-40B4-BE49-F238E27FC236}">
                    <a16:creationId xmlns:a16="http://schemas.microsoft.com/office/drawing/2014/main" id="{466FDD6D-5DF7-4613-8EF7-42B2DDE4F78C}"/>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1" name="Line 222">
                <a:extLst>
                  <a:ext uri="{FF2B5EF4-FFF2-40B4-BE49-F238E27FC236}">
                    <a16:creationId xmlns:a16="http://schemas.microsoft.com/office/drawing/2014/main" id="{7FC4BCEB-8E6C-487B-9C79-2CFC90159AC9}"/>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2" name="Line 224">
                <a:extLst>
                  <a:ext uri="{FF2B5EF4-FFF2-40B4-BE49-F238E27FC236}">
                    <a16:creationId xmlns:a16="http://schemas.microsoft.com/office/drawing/2014/main" id="{8F587549-6B98-4A8C-8266-77C3AB44D242}"/>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3" name="Line 226">
                <a:extLst>
                  <a:ext uri="{FF2B5EF4-FFF2-40B4-BE49-F238E27FC236}">
                    <a16:creationId xmlns:a16="http://schemas.microsoft.com/office/drawing/2014/main" id="{D0F0C6AD-676B-4871-97B8-19FDA3B0DEC4}"/>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4" name="Line 228">
                <a:extLst>
                  <a:ext uri="{FF2B5EF4-FFF2-40B4-BE49-F238E27FC236}">
                    <a16:creationId xmlns:a16="http://schemas.microsoft.com/office/drawing/2014/main" id="{2740FAC5-4363-48EF-A99E-E337094B7AB1}"/>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5" name="Line 146">
                <a:extLst>
                  <a:ext uri="{FF2B5EF4-FFF2-40B4-BE49-F238E27FC236}">
                    <a16:creationId xmlns:a16="http://schemas.microsoft.com/office/drawing/2014/main" id="{37761899-4DC5-4C6E-81BF-194C8384EDB5}"/>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6" name="Line 204">
                <a:extLst>
                  <a:ext uri="{FF2B5EF4-FFF2-40B4-BE49-F238E27FC236}">
                    <a16:creationId xmlns:a16="http://schemas.microsoft.com/office/drawing/2014/main" id="{F09CFD66-2892-4333-B400-0C9F00A2B2B0}"/>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2" name="Group 11">
              <a:extLst>
                <a:ext uri="{FF2B5EF4-FFF2-40B4-BE49-F238E27FC236}">
                  <a16:creationId xmlns:a16="http://schemas.microsoft.com/office/drawing/2014/main" id="{26943C02-6507-43B7-9086-E8B750D6C615}"/>
                </a:ext>
              </a:extLst>
            </p:cNvPr>
            <p:cNvGrpSpPr/>
            <p:nvPr userDrawn="1"/>
          </p:nvGrpSpPr>
          <p:grpSpPr bwMode="gray">
            <a:xfrm>
              <a:off x="0" y="6948152"/>
              <a:ext cx="12192000" cy="232538"/>
              <a:chOff x="0" y="-319423"/>
              <a:chExt cx="12192000" cy="232538"/>
            </a:xfrm>
          </p:grpSpPr>
          <p:sp>
            <p:nvSpPr>
              <p:cNvPr id="39" name="Line 146">
                <a:extLst>
                  <a:ext uri="{FF2B5EF4-FFF2-40B4-BE49-F238E27FC236}">
                    <a16:creationId xmlns:a16="http://schemas.microsoft.com/office/drawing/2014/main" id="{4CE37BDA-63D3-4798-AA99-EB286DBE8A99}"/>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0" name="Line 148">
                <a:extLst>
                  <a:ext uri="{FF2B5EF4-FFF2-40B4-BE49-F238E27FC236}">
                    <a16:creationId xmlns:a16="http://schemas.microsoft.com/office/drawing/2014/main" id="{CE239325-579F-4483-98E5-C9F26A6AF83D}"/>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1" name="Line 150">
                <a:extLst>
                  <a:ext uri="{FF2B5EF4-FFF2-40B4-BE49-F238E27FC236}">
                    <a16:creationId xmlns:a16="http://schemas.microsoft.com/office/drawing/2014/main" id="{20B1A90B-84CD-4A1A-BA2E-F320A13781A8}"/>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2" name="Line 152">
                <a:extLst>
                  <a:ext uri="{FF2B5EF4-FFF2-40B4-BE49-F238E27FC236}">
                    <a16:creationId xmlns:a16="http://schemas.microsoft.com/office/drawing/2014/main" id="{34227BDC-ACB3-45DA-987D-74BC05BD6E60}"/>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3" name="Line 154">
                <a:extLst>
                  <a:ext uri="{FF2B5EF4-FFF2-40B4-BE49-F238E27FC236}">
                    <a16:creationId xmlns:a16="http://schemas.microsoft.com/office/drawing/2014/main" id="{5870A6B3-FDE3-4968-8A2E-3128F4ADA43C}"/>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4" name="Line 156">
                <a:extLst>
                  <a:ext uri="{FF2B5EF4-FFF2-40B4-BE49-F238E27FC236}">
                    <a16:creationId xmlns:a16="http://schemas.microsoft.com/office/drawing/2014/main" id="{1407A0B3-F23B-4DE5-B985-D934BF0943BD}"/>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5" name="Line 158">
                <a:extLst>
                  <a:ext uri="{FF2B5EF4-FFF2-40B4-BE49-F238E27FC236}">
                    <a16:creationId xmlns:a16="http://schemas.microsoft.com/office/drawing/2014/main" id="{D6742EED-CC05-4193-AE2C-162A03C72FD1}"/>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6" name="Line 160">
                <a:extLst>
                  <a:ext uri="{FF2B5EF4-FFF2-40B4-BE49-F238E27FC236}">
                    <a16:creationId xmlns:a16="http://schemas.microsoft.com/office/drawing/2014/main" id="{8B2673B7-E13D-4AD2-B70B-9E6EE761D43D}"/>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7" name="Line 162">
                <a:extLst>
                  <a:ext uri="{FF2B5EF4-FFF2-40B4-BE49-F238E27FC236}">
                    <a16:creationId xmlns:a16="http://schemas.microsoft.com/office/drawing/2014/main" id="{EF427DBA-0B5D-4493-BCA2-1CBCB9BDC044}"/>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8" name="Line 164">
                <a:extLst>
                  <a:ext uri="{FF2B5EF4-FFF2-40B4-BE49-F238E27FC236}">
                    <a16:creationId xmlns:a16="http://schemas.microsoft.com/office/drawing/2014/main" id="{A69F03EB-A009-482C-AC00-87CC580BBAFF}"/>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9" name="Line 166">
                <a:extLst>
                  <a:ext uri="{FF2B5EF4-FFF2-40B4-BE49-F238E27FC236}">
                    <a16:creationId xmlns:a16="http://schemas.microsoft.com/office/drawing/2014/main" id="{2598C2C1-2568-458B-AB98-5E91B58FC2FB}"/>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0" name="Line 168">
                <a:extLst>
                  <a:ext uri="{FF2B5EF4-FFF2-40B4-BE49-F238E27FC236}">
                    <a16:creationId xmlns:a16="http://schemas.microsoft.com/office/drawing/2014/main" id="{D1B91C94-1152-402C-9845-B413DD443D59}"/>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1" name="Line 170">
                <a:extLst>
                  <a:ext uri="{FF2B5EF4-FFF2-40B4-BE49-F238E27FC236}">
                    <a16:creationId xmlns:a16="http://schemas.microsoft.com/office/drawing/2014/main" id="{1E544D1E-8258-4D1E-94AE-CEF5751C116B}"/>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2" name="Line 172">
                <a:extLst>
                  <a:ext uri="{FF2B5EF4-FFF2-40B4-BE49-F238E27FC236}">
                    <a16:creationId xmlns:a16="http://schemas.microsoft.com/office/drawing/2014/main" id="{B252831E-D628-4F87-9137-B16ECD518F28}"/>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3" name="Line 174">
                <a:extLst>
                  <a:ext uri="{FF2B5EF4-FFF2-40B4-BE49-F238E27FC236}">
                    <a16:creationId xmlns:a16="http://schemas.microsoft.com/office/drawing/2014/main" id="{0AED1629-2828-4280-8C4D-440BE568790E}"/>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4" name="Line 176">
                <a:extLst>
                  <a:ext uri="{FF2B5EF4-FFF2-40B4-BE49-F238E27FC236}">
                    <a16:creationId xmlns:a16="http://schemas.microsoft.com/office/drawing/2014/main" id="{1E1846B8-7C24-419D-88A5-C8AB44661789}"/>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5" name="Line 178">
                <a:extLst>
                  <a:ext uri="{FF2B5EF4-FFF2-40B4-BE49-F238E27FC236}">
                    <a16:creationId xmlns:a16="http://schemas.microsoft.com/office/drawing/2014/main" id="{B8CE7AB3-348F-43B9-83DE-BB4FAA681091}"/>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6" name="Line 180">
                <a:extLst>
                  <a:ext uri="{FF2B5EF4-FFF2-40B4-BE49-F238E27FC236}">
                    <a16:creationId xmlns:a16="http://schemas.microsoft.com/office/drawing/2014/main" id="{E674C27A-69A2-49C9-ACFD-3A3D1D314442}"/>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7" name="Line 182">
                <a:extLst>
                  <a:ext uri="{FF2B5EF4-FFF2-40B4-BE49-F238E27FC236}">
                    <a16:creationId xmlns:a16="http://schemas.microsoft.com/office/drawing/2014/main" id="{19FA93A8-9FE3-4A66-B8B5-430B21081703}"/>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8" name="Line 184">
                <a:extLst>
                  <a:ext uri="{FF2B5EF4-FFF2-40B4-BE49-F238E27FC236}">
                    <a16:creationId xmlns:a16="http://schemas.microsoft.com/office/drawing/2014/main" id="{D7AA3624-4D3F-4123-AB8D-E0A5D222F4E4}"/>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9" name="Line 186">
                <a:extLst>
                  <a:ext uri="{FF2B5EF4-FFF2-40B4-BE49-F238E27FC236}">
                    <a16:creationId xmlns:a16="http://schemas.microsoft.com/office/drawing/2014/main" id="{BAAC8508-31A8-4E7F-845C-D3320A2AB80B}"/>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0" name="Line 188">
                <a:extLst>
                  <a:ext uri="{FF2B5EF4-FFF2-40B4-BE49-F238E27FC236}">
                    <a16:creationId xmlns:a16="http://schemas.microsoft.com/office/drawing/2014/main" id="{71B5C7C2-B4C8-40C4-B6BA-6C970C1EA015}"/>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1" name="Line 190">
                <a:extLst>
                  <a:ext uri="{FF2B5EF4-FFF2-40B4-BE49-F238E27FC236}">
                    <a16:creationId xmlns:a16="http://schemas.microsoft.com/office/drawing/2014/main" id="{FE1B90F0-6BA0-48D2-BF83-6B3D2B1E834E}"/>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2" name="Line 192">
                <a:extLst>
                  <a:ext uri="{FF2B5EF4-FFF2-40B4-BE49-F238E27FC236}">
                    <a16:creationId xmlns:a16="http://schemas.microsoft.com/office/drawing/2014/main" id="{DF1EBECC-3844-4020-96D6-E1AA1F993193}"/>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3" name="Line 194">
                <a:extLst>
                  <a:ext uri="{FF2B5EF4-FFF2-40B4-BE49-F238E27FC236}">
                    <a16:creationId xmlns:a16="http://schemas.microsoft.com/office/drawing/2014/main" id="{EC53F998-C6AE-4003-B99F-A2BE1EB41484}"/>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4" name="Line 196">
                <a:extLst>
                  <a:ext uri="{FF2B5EF4-FFF2-40B4-BE49-F238E27FC236}">
                    <a16:creationId xmlns:a16="http://schemas.microsoft.com/office/drawing/2014/main" id="{BC7162FD-1D56-401E-86AB-115F7C8A228F}"/>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5" name="Line 198">
                <a:extLst>
                  <a:ext uri="{FF2B5EF4-FFF2-40B4-BE49-F238E27FC236}">
                    <a16:creationId xmlns:a16="http://schemas.microsoft.com/office/drawing/2014/main" id="{7455EFFF-598C-4B83-A843-321A2C050EAD}"/>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6" name="Line 200">
                <a:extLst>
                  <a:ext uri="{FF2B5EF4-FFF2-40B4-BE49-F238E27FC236}">
                    <a16:creationId xmlns:a16="http://schemas.microsoft.com/office/drawing/2014/main" id="{29501B6A-8A0D-4857-84F7-031059F543C3}"/>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7" name="Line 202">
                <a:extLst>
                  <a:ext uri="{FF2B5EF4-FFF2-40B4-BE49-F238E27FC236}">
                    <a16:creationId xmlns:a16="http://schemas.microsoft.com/office/drawing/2014/main" id="{95F7E606-8B17-417A-ABFD-9BD20AEA457B}"/>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8" name="Line 204">
                <a:extLst>
                  <a:ext uri="{FF2B5EF4-FFF2-40B4-BE49-F238E27FC236}">
                    <a16:creationId xmlns:a16="http://schemas.microsoft.com/office/drawing/2014/main" id="{33BD3111-BE1F-4D2A-9076-07A70722CCA3}"/>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9" name="Line 206">
                <a:extLst>
                  <a:ext uri="{FF2B5EF4-FFF2-40B4-BE49-F238E27FC236}">
                    <a16:creationId xmlns:a16="http://schemas.microsoft.com/office/drawing/2014/main" id="{E47B3A46-7158-486B-B539-1CFD1B676B5C}"/>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0" name="Line 208">
                <a:extLst>
                  <a:ext uri="{FF2B5EF4-FFF2-40B4-BE49-F238E27FC236}">
                    <a16:creationId xmlns:a16="http://schemas.microsoft.com/office/drawing/2014/main" id="{43B96FE3-E743-4641-A033-B277C2466EF3}"/>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1" name="Line 210">
                <a:extLst>
                  <a:ext uri="{FF2B5EF4-FFF2-40B4-BE49-F238E27FC236}">
                    <a16:creationId xmlns:a16="http://schemas.microsoft.com/office/drawing/2014/main" id="{E3E40324-7538-4CA4-863D-8795DBACA649}"/>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2" name="Line 212">
                <a:extLst>
                  <a:ext uri="{FF2B5EF4-FFF2-40B4-BE49-F238E27FC236}">
                    <a16:creationId xmlns:a16="http://schemas.microsoft.com/office/drawing/2014/main" id="{82959CEA-BAB7-473F-A545-6C8B73D83D61}"/>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3" name="Line 214">
                <a:extLst>
                  <a:ext uri="{FF2B5EF4-FFF2-40B4-BE49-F238E27FC236}">
                    <a16:creationId xmlns:a16="http://schemas.microsoft.com/office/drawing/2014/main" id="{9F0973A4-7453-4006-9D02-AE8A81CB7B90}"/>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4" name="Line 216">
                <a:extLst>
                  <a:ext uri="{FF2B5EF4-FFF2-40B4-BE49-F238E27FC236}">
                    <a16:creationId xmlns:a16="http://schemas.microsoft.com/office/drawing/2014/main" id="{375CF136-F7CA-4B4D-9F89-7D89BC890A51}"/>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5" name="Line 218">
                <a:extLst>
                  <a:ext uri="{FF2B5EF4-FFF2-40B4-BE49-F238E27FC236}">
                    <a16:creationId xmlns:a16="http://schemas.microsoft.com/office/drawing/2014/main" id="{96332D5C-F921-49A0-B28C-64C5B512FFD7}"/>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6" name="Line 220">
                <a:extLst>
                  <a:ext uri="{FF2B5EF4-FFF2-40B4-BE49-F238E27FC236}">
                    <a16:creationId xmlns:a16="http://schemas.microsoft.com/office/drawing/2014/main" id="{35DA4558-27FF-48A6-A9C5-C8AA92BEEA6D}"/>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7" name="Line 222">
                <a:extLst>
                  <a:ext uri="{FF2B5EF4-FFF2-40B4-BE49-F238E27FC236}">
                    <a16:creationId xmlns:a16="http://schemas.microsoft.com/office/drawing/2014/main" id="{D011CE2D-29BE-4C30-BB8C-42ACE9BE29D6}"/>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8" name="Line 224">
                <a:extLst>
                  <a:ext uri="{FF2B5EF4-FFF2-40B4-BE49-F238E27FC236}">
                    <a16:creationId xmlns:a16="http://schemas.microsoft.com/office/drawing/2014/main" id="{86954F5A-06A6-4283-A5F3-EF79DE048D2E}"/>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9" name="Line 226">
                <a:extLst>
                  <a:ext uri="{FF2B5EF4-FFF2-40B4-BE49-F238E27FC236}">
                    <a16:creationId xmlns:a16="http://schemas.microsoft.com/office/drawing/2014/main" id="{013F2F0A-345E-4B76-A199-B0C26871B7A9}"/>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0" name="Line 228">
                <a:extLst>
                  <a:ext uri="{FF2B5EF4-FFF2-40B4-BE49-F238E27FC236}">
                    <a16:creationId xmlns:a16="http://schemas.microsoft.com/office/drawing/2014/main" id="{F409C364-8B96-4FD8-9A39-D4736283F3E2}"/>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1" name="Line 146">
                <a:extLst>
                  <a:ext uri="{FF2B5EF4-FFF2-40B4-BE49-F238E27FC236}">
                    <a16:creationId xmlns:a16="http://schemas.microsoft.com/office/drawing/2014/main" id="{08062CD7-D3D4-45D4-811D-6A9515C2E6AB}"/>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Line 204">
                <a:extLst>
                  <a:ext uri="{FF2B5EF4-FFF2-40B4-BE49-F238E27FC236}">
                    <a16:creationId xmlns:a16="http://schemas.microsoft.com/office/drawing/2014/main" id="{A5E619D6-28C7-4750-82C8-C78C1CF435F0}"/>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3" name="Group 12">
              <a:extLst>
                <a:ext uri="{FF2B5EF4-FFF2-40B4-BE49-F238E27FC236}">
                  <a16:creationId xmlns:a16="http://schemas.microsoft.com/office/drawing/2014/main" id="{DA5AF6E9-57CB-4331-8315-A85A551EAFC7}"/>
                </a:ext>
              </a:extLst>
            </p:cNvPr>
            <p:cNvGrpSpPr/>
            <p:nvPr userDrawn="1"/>
          </p:nvGrpSpPr>
          <p:grpSpPr bwMode="gray">
            <a:xfrm>
              <a:off x="12276481" y="0"/>
              <a:ext cx="240289" cy="6858000"/>
              <a:chOff x="-319714" y="0"/>
              <a:chExt cx="240289" cy="6858000"/>
            </a:xfrm>
          </p:grpSpPr>
          <p:sp>
            <p:nvSpPr>
              <p:cNvPr id="14" name="Line 230">
                <a:extLst>
                  <a:ext uri="{FF2B5EF4-FFF2-40B4-BE49-F238E27FC236}">
                    <a16:creationId xmlns:a16="http://schemas.microsoft.com/office/drawing/2014/main" id="{AEFBFBA9-9149-4681-8CD8-D5C7CD1B473B}"/>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 name="Line 232">
                <a:extLst>
                  <a:ext uri="{FF2B5EF4-FFF2-40B4-BE49-F238E27FC236}">
                    <a16:creationId xmlns:a16="http://schemas.microsoft.com/office/drawing/2014/main" id="{6642CA17-D5E2-4433-ADDE-A6301EAF182B}"/>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 name="Line 234">
                <a:extLst>
                  <a:ext uri="{FF2B5EF4-FFF2-40B4-BE49-F238E27FC236}">
                    <a16:creationId xmlns:a16="http://schemas.microsoft.com/office/drawing/2014/main" id="{8CC3ACA1-D0A3-47D8-92BB-0C74A607D4DB}"/>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7" name="Line 236">
                <a:extLst>
                  <a:ext uri="{FF2B5EF4-FFF2-40B4-BE49-F238E27FC236}">
                    <a16:creationId xmlns:a16="http://schemas.microsoft.com/office/drawing/2014/main" id="{8F9905C7-A28F-4643-AA1C-2AD14669CAE6}"/>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 name="Line 238">
                <a:extLst>
                  <a:ext uri="{FF2B5EF4-FFF2-40B4-BE49-F238E27FC236}">
                    <a16:creationId xmlns:a16="http://schemas.microsoft.com/office/drawing/2014/main" id="{EE870611-979E-4587-B8D2-4EAD771D67F8}"/>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 name="Line 240">
                <a:extLst>
                  <a:ext uri="{FF2B5EF4-FFF2-40B4-BE49-F238E27FC236}">
                    <a16:creationId xmlns:a16="http://schemas.microsoft.com/office/drawing/2014/main" id="{A0B65107-EABA-4EE1-B426-0011E9337DF9}"/>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 name="Line 244">
                <a:extLst>
                  <a:ext uri="{FF2B5EF4-FFF2-40B4-BE49-F238E27FC236}">
                    <a16:creationId xmlns:a16="http://schemas.microsoft.com/office/drawing/2014/main" id="{E2D5DF14-4603-4E11-85C4-E91EF678AD27}"/>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 name="Line 246">
                <a:extLst>
                  <a:ext uri="{FF2B5EF4-FFF2-40B4-BE49-F238E27FC236}">
                    <a16:creationId xmlns:a16="http://schemas.microsoft.com/office/drawing/2014/main" id="{D662226A-2C7D-44B7-BE17-082C6D4FAA91}"/>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 name="Line 250">
                <a:extLst>
                  <a:ext uri="{FF2B5EF4-FFF2-40B4-BE49-F238E27FC236}">
                    <a16:creationId xmlns:a16="http://schemas.microsoft.com/office/drawing/2014/main" id="{2E6A6AE8-19E7-41D5-A606-EA0D8F179F12}"/>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52">
                <a:extLst>
                  <a:ext uri="{FF2B5EF4-FFF2-40B4-BE49-F238E27FC236}">
                    <a16:creationId xmlns:a16="http://schemas.microsoft.com/office/drawing/2014/main" id="{29D4204A-F7FB-44E1-8314-7E6E3B07BA5D}"/>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54">
                <a:extLst>
                  <a:ext uri="{FF2B5EF4-FFF2-40B4-BE49-F238E27FC236}">
                    <a16:creationId xmlns:a16="http://schemas.microsoft.com/office/drawing/2014/main" id="{5C60E1CF-9533-476E-8A3B-C9699F068332}"/>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 name="Line 256">
                <a:extLst>
                  <a:ext uri="{FF2B5EF4-FFF2-40B4-BE49-F238E27FC236}">
                    <a16:creationId xmlns:a16="http://schemas.microsoft.com/office/drawing/2014/main" id="{50111AC1-204D-4341-81B3-513C10FF9E18}"/>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 name="Line 258">
                <a:extLst>
                  <a:ext uri="{FF2B5EF4-FFF2-40B4-BE49-F238E27FC236}">
                    <a16:creationId xmlns:a16="http://schemas.microsoft.com/office/drawing/2014/main" id="{5AE2FFD9-1B41-47DF-A618-FD6D9493DF64}"/>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 name="Line 260">
                <a:extLst>
                  <a:ext uri="{FF2B5EF4-FFF2-40B4-BE49-F238E27FC236}">
                    <a16:creationId xmlns:a16="http://schemas.microsoft.com/office/drawing/2014/main" id="{8606843B-D33D-490F-9E87-9DD60CD8066C}"/>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 name="Line 262">
                <a:extLst>
                  <a:ext uri="{FF2B5EF4-FFF2-40B4-BE49-F238E27FC236}">
                    <a16:creationId xmlns:a16="http://schemas.microsoft.com/office/drawing/2014/main" id="{00674985-A244-4806-A755-F687EF65428B}"/>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 name="Line 264">
                <a:extLst>
                  <a:ext uri="{FF2B5EF4-FFF2-40B4-BE49-F238E27FC236}">
                    <a16:creationId xmlns:a16="http://schemas.microsoft.com/office/drawing/2014/main" id="{E0A37C93-7691-4BDC-8A60-7E47D36BA9F7}"/>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0" name="Line 266">
                <a:extLst>
                  <a:ext uri="{FF2B5EF4-FFF2-40B4-BE49-F238E27FC236}">
                    <a16:creationId xmlns:a16="http://schemas.microsoft.com/office/drawing/2014/main" id="{EFAC3395-72A1-4FC9-9C43-85CF4CDD30CE}"/>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1" name="Line 268">
                <a:extLst>
                  <a:ext uri="{FF2B5EF4-FFF2-40B4-BE49-F238E27FC236}">
                    <a16:creationId xmlns:a16="http://schemas.microsoft.com/office/drawing/2014/main" id="{26783745-E93E-4BF4-8986-C2AED8851FB4}"/>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2" name="Line 270">
                <a:extLst>
                  <a:ext uri="{FF2B5EF4-FFF2-40B4-BE49-F238E27FC236}">
                    <a16:creationId xmlns:a16="http://schemas.microsoft.com/office/drawing/2014/main" id="{EE77D2BF-9687-4B9D-84B3-4FE6AC0C899A}"/>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3" name="Line 272">
                <a:extLst>
                  <a:ext uri="{FF2B5EF4-FFF2-40B4-BE49-F238E27FC236}">
                    <a16:creationId xmlns:a16="http://schemas.microsoft.com/office/drawing/2014/main" id="{11463E11-5B9E-4860-BEFE-8A96987E6537}"/>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4" name="Line 274">
                <a:extLst>
                  <a:ext uri="{FF2B5EF4-FFF2-40B4-BE49-F238E27FC236}">
                    <a16:creationId xmlns:a16="http://schemas.microsoft.com/office/drawing/2014/main" id="{1C1C41E4-16EE-47A7-A05C-445F7C7FEDEB}"/>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5" name="Line 276">
                <a:extLst>
                  <a:ext uri="{FF2B5EF4-FFF2-40B4-BE49-F238E27FC236}">
                    <a16:creationId xmlns:a16="http://schemas.microsoft.com/office/drawing/2014/main" id="{AFEA69D9-8859-4C09-B0B9-EE157BC39E5F}"/>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6" name="Line 278">
                <a:extLst>
                  <a:ext uri="{FF2B5EF4-FFF2-40B4-BE49-F238E27FC236}">
                    <a16:creationId xmlns:a16="http://schemas.microsoft.com/office/drawing/2014/main" id="{41CE6126-569B-46CD-9504-2E4FB95D6EC3}"/>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7" name="Line 256">
                <a:extLst>
                  <a:ext uri="{FF2B5EF4-FFF2-40B4-BE49-F238E27FC236}">
                    <a16:creationId xmlns:a16="http://schemas.microsoft.com/office/drawing/2014/main" id="{A720DABE-CBA0-4F41-B755-52166E228A26}"/>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8" name="Line 234">
                <a:extLst>
                  <a:ext uri="{FF2B5EF4-FFF2-40B4-BE49-F238E27FC236}">
                    <a16:creationId xmlns:a16="http://schemas.microsoft.com/office/drawing/2014/main" id="{844C7BA2-1B45-4D7E-9B5E-693586C950EC}"/>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154" name="Content Placeholder 1">
            <a:extLst>
              <a:ext uri="{FF2B5EF4-FFF2-40B4-BE49-F238E27FC236}">
                <a16:creationId xmlns:a16="http://schemas.microsoft.com/office/drawing/2014/main" id="{A67C7230-BDB4-47B2-A8BE-6F4C4A5C5FBE}"/>
              </a:ext>
            </a:extLst>
          </p:cNvPr>
          <p:cNvSpPr txBox="1">
            <a:spLocks/>
          </p:cNvSpPr>
          <p:nvPr userDrawn="1"/>
        </p:nvSpPr>
        <p:spPr bwMode="gray">
          <a:xfrm>
            <a:off x="-3164400" y="0"/>
            <a:ext cx="2804400" cy="5114862"/>
          </a:xfrm>
          <a:prstGeom prst="rect">
            <a:avLst/>
          </a:prstGeom>
        </p:spPr>
        <p:txBody>
          <a:bodyPr lIns="0" tIns="0" rIns="0" bIns="0">
            <a:sp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gn="l">
              <a:spcBef>
                <a:spcPts val="0"/>
              </a:spcBef>
            </a:pPr>
            <a:r>
              <a:rPr lang="nl-NL" sz="1100" b="1" dirty="0">
                <a:solidFill>
                  <a:schemeClr val="tx1"/>
                </a:solidFill>
              </a:rPr>
              <a:t>Gebruik van afbeeldingen als achtergrond</a:t>
            </a:r>
          </a:p>
          <a:p>
            <a:pPr algn="l">
              <a:spcBef>
                <a:spcPts val="0"/>
              </a:spcBef>
            </a:pPr>
            <a:endParaRPr lang="nl-NL" sz="1100" b="1" dirty="0">
              <a:solidFill>
                <a:schemeClr val="tx1"/>
              </a:solidFill>
            </a:endParaRPr>
          </a:p>
          <a:p>
            <a:pPr marL="171450" indent="-171450" algn="l">
              <a:spcBef>
                <a:spcPts val="0"/>
              </a:spcBef>
              <a:buFont typeface="Arial" panose="020B0604020202020204" pitchFamily="34" charset="0"/>
              <a:buChar char="•"/>
            </a:pPr>
            <a:r>
              <a:rPr lang="nl-NL" sz="1100" b="0" dirty="0">
                <a:solidFill>
                  <a:schemeClr val="tx1"/>
                </a:solidFill>
              </a:rPr>
              <a:t>Klik op het grijze afbeeldingsveld</a:t>
            </a:r>
          </a:p>
          <a:p>
            <a:pPr marL="171450" indent="-171450" algn="l">
              <a:spcBef>
                <a:spcPts val="0"/>
              </a:spcBef>
              <a:buFont typeface="Arial" panose="020B0604020202020204" pitchFamily="34" charset="0"/>
              <a:buChar char="•"/>
            </a:pPr>
            <a:r>
              <a:rPr lang="nl-NL" sz="1100" b="0" dirty="0">
                <a:solidFill>
                  <a:schemeClr val="tx1"/>
                </a:solidFill>
              </a:rPr>
              <a:t>Ga nu naar </a:t>
            </a:r>
            <a:r>
              <a:rPr lang="nl-NL" sz="1100" b="1" dirty="0">
                <a:solidFill>
                  <a:schemeClr val="tx1"/>
                </a:solidFill>
              </a:rPr>
              <a:t>‘Invoegen’ </a:t>
            </a:r>
            <a:r>
              <a:rPr lang="nl-NL" sz="1100" b="0" dirty="0">
                <a:solidFill>
                  <a:schemeClr val="tx1"/>
                </a:solidFill>
              </a:rPr>
              <a:t>en kies </a:t>
            </a:r>
            <a:r>
              <a:rPr lang="nl-NL" sz="1100" b="1" dirty="0">
                <a:solidFill>
                  <a:schemeClr val="tx1"/>
                </a:solidFill>
              </a:rPr>
              <a:t>‘Afbeeldingen’</a:t>
            </a:r>
            <a:r>
              <a:rPr lang="nl-NL" sz="1100" b="0" dirty="0">
                <a:solidFill>
                  <a:schemeClr val="tx1"/>
                </a:solidFill>
              </a:rPr>
              <a:t>. </a:t>
            </a:r>
          </a:p>
          <a:p>
            <a:pPr marL="171450" indent="-171450" algn="l">
              <a:spcBef>
                <a:spcPts val="0"/>
              </a:spcBef>
              <a:buFont typeface="Arial" panose="020B0604020202020204" pitchFamily="34" charset="0"/>
              <a:buChar char="•"/>
            </a:pPr>
            <a:r>
              <a:rPr lang="nl-NL" sz="1100" b="0" dirty="0">
                <a:solidFill>
                  <a:schemeClr val="tx1"/>
                </a:solidFill>
              </a:rPr>
              <a:t>Kies een afbeelding, klik op </a:t>
            </a:r>
            <a:r>
              <a:rPr lang="nl-NL" sz="1100" b="1" dirty="0">
                <a:solidFill>
                  <a:schemeClr val="tx1"/>
                </a:solidFill>
              </a:rPr>
              <a:t>‘Invoegen’ </a:t>
            </a:r>
            <a:r>
              <a:rPr lang="nl-NL" sz="1100" b="0" dirty="0">
                <a:solidFill>
                  <a:schemeClr val="tx1"/>
                </a:solidFill>
              </a:rPr>
              <a:t>en de afbeelding wordt geplaatst.</a:t>
            </a:r>
          </a:p>
          <a:p>
            <a:pPr marL="171450" indent="-171450" algn="l">
              <a:spcBef>
                <a:spcPts val="0"/>
              </a:spcBef>
              <a:buFont typeface="Arial" panose="020B0604020202020204" pitchFamily="34" charset="0"/>
              <a:buChar char="•"/>
            </a:pPr>
            <a:r>
              <a:rPr lang="nl-NL" sz="1100" b="0" dirty="0">
                <a:solidFill>
                  <a:schemeClr val="tx1"/>
                </a:solidFill>
              </a:rPr>
              <a:t>Wil je een uitsnede maken, selecteer dan de foto door erop te klikken en gebruik de </a:t>
            </a:r>
            <a:r>
              <a:rPr lang="nl-NL" sz="1100" b="0" dirty="0" err="1">
                <a:solidFill>
                  <a:schemeClr val="tx1"/>
                </a:solidFill>
              </a:rPr>
              <a:t>crop</a:t>
            </a:r>
            <a:r>
              <a:rPr lang="nl-NL" sz="1100" b="0" dirty="0">
                <a:solidFill>
                  <a:schemeClr val="tx1"/>
                </a:solidFill>
              </a:rPr>
              <a:t>- functie onder </a:t>
            </a:r>
            <a:r>
              <a:rPr lang="nl-NL" sz="1100" b="1" dirty="0">
                <a:solidFill>
                  <a:schemeClr val="tx1"/>
                </a:solidFill>
              </a:rPr>
              <a:t>‘Opmaak’/’Bijsnijden’</a:t>
            </a:r>
            <a:r>
              <a:rPr lang="nl-NL" sz="1100" b="0" dirty="0">
                <a:solidFill>
                  <a:schemeClr val="tx1"/>
                </a:solidFill>
              </a:rPr>
              <a:t>.</a:t>
            </a:r>
          </a:p>
          <a:p>
            <a:pPr marL="171450" indent="-171450" algn="l">
              <a:spcBef>
                <a:spcPts val="0"/>
              </a:spcBef>
              <a:buFont typeface="Arial" panose="020B0604020202020204" pitchFamily="34" charset="0"/>
              <a:buChar char="•"/>
            </a:pPr>
            <a:endParaRPr lang="nl-NL" sz="1100" b="0" dirty="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r>
              <a:rPr lang="nl-NL" sz="1100" b="0" dirty="0">
                <a:solidFill>
                  <a:schemeClr val="tx1"/>
                </a:solidFill>
              </a:rPr>
              <a:t>Foto’s kun je kiezen uit de</a:t>
            </a:r>
            <a:r>
              <a:rPr lang="nl-NL" sz="1100" b="0" baseline="0" dirty="0">
                <a:solidFill>
                  <a:schemeClr val="tx1"/>
                </a:solidFill>
              </a:rPr>
              <a:t> </a:t>
            </a:r>
            <a:r>
              <a:rPr lang="nl-NL" sz="1100" b="1" baseline="0" dirty="0">
                <a:solidFill>
                  <a:schemeClr val="tx1"/>
                </a:solidFill>
              </a:rPr>
              <a:t>Mediabank in het UWV Communicatieportaal</a:t>
            </a:r>
            <a:r>
              <a:rPr lang="nl-NL" sz="1100" b="0" baseline="0" dirty="0">
                <a:solidFill>
                  <a:schemeClr val="tx1"/>
                </a:solidFill>
              </a:rPr>
              <a:t>. Deze foto’s zijn van hoge kwaliteit en hiervan is het intellectueel eigendom geregeld. </a:t>
            </a:r>
            <a:br>
              <a:rPr lang="nl-NL" sz="1100" b="0" baseline="0" dirty="0">
                <a:solidFill>
                  <a:schemeClr val="tx1"/>
                </a:solidFill>
              </a:rPr>
            </a:br>
            <a:br>
              <a:rPr lang="nl-NL" sz="1100" b="0" baseline="0" dirty="0">
                <a:solidFill>
                  <a:schemeClr val="tx1"/>
                </a:solidFill>
              </a:rPr>
            </a:br>
            <a:r>
              <a:rPr lang="nl-NL" sz="1100" b="0" dirty="0">
                <a:solidFill>
                  <a:schemeClr val="tx1"/>
                </a:solidFill>
                <a:hlinkClick r:id="rId3"/>
              </a:rPr>
              <a:t>https://communicatieportaal.uwv.nl/modules/product/mediabank/default/?ItemId=3219</a:t>
            </a:r>
            <a:r>
              <a:rPr lang="nl-NL" sz="1100" b="0" dirty="0">
                <a:solidFill>
                  <a:schemeClr val="tx1"/>
                </a:solidFill>
              </a:rPr>
              <a:t> </a:t>
            </a:r>
            <a:br>
              <a:rPr lang="nl-NL" sz="1100" b="0" dirty="0">
                <a:solidFill>
                  <a:schemeClr val="tx1"/>
                </a:solidFill>
              </a:rPr>
            </a:br>
            <a:br>
              <a:rPr lang="nl-NL" sz="1100" b="0" dirty="0">
                <a:solidFill>
                  <a:schemeClr val="tx1"/>
                </a:solidFill>
              </a:rPr>
            </a:br>
            <a:r>
              <a:rPr lang="nl-NL" sz="1100" b="0" dirty="0">
                <a:solidFill>
                  <a:schemeClr val="tx1"/>
                </a:solidFill>
              </a:rPr>
              <a:t>en daar waar relevant naar de pictogrammen in de mediabank: </a:t>
            </a:r>
            <a:br>
              <a:rPr lang="nl-NL" sz="1100" b="0" dirty="0">
                <a:solidFill>
                  <a:schemeClr val="tx1"/>
                </a:solidFill>
              </a:rPr>
            </a:br>
            <a:br>
              <a:rPr lang="nl-NL" sz="1100" b="0" dirty="0">
                <a:solidFill>
                  <a:schemeClr val="tx1"/>
                </a:solidFill>
              </a:rPr>
            </a:br>
            <a:r>
              <a:rPr lang="nl-NL" sz="1100" b="0" dirty="0">
                <a:solidFill>
                  <a:schemeClr val="tx1"/>
                </a:solidFill>
                <a:hlinkClick r:id="rId4"/>
              </a:rPr>
              <a:t>https://communicatieportaal.uwv.nl/modules/product/default/media/?ItemId=3217</a:t>
            </a:r>
            <a:endParaRPr lang="nl-NL" sz="1100" b="0" dirty="0">
              <a:solidFill>
                <a:schemeClr val="tx1"/>
              </a:solidFill>
            </a:endParaRPr>
          </a:p>
        </p:txBody>
      </p:sp>
      <p:sp>
        <p:nvSpPr>
          <p:cNvPr id="3" name="Footer Placeholder 2">
            <a:extLst>
              <a:ext uri="{FF2B5EF4-FFF2-40B4-BE49-F238E27FC236}">
                <a16:creationId xmlns:a16="http://schemas.microsoft.com/office/drawing/2014/main" id="{F83D8D44-B1C0-46F3-B7C9-F0760561E3BC}"/>
              </a:ext>
            </a:extLst>
          </p:cNvPr>
          <p:cNvSpPr>
            <a:spLocks noGrp="1"/>
          </p:cNvSpPr>
          <p:nvPr>
            <p:ph type="ftr" sz="quarter" idx="11"/>
          </p:nvPr>
        </p:nvSpPr>
        <p:spPr bwMode="gray"/>
        <p:txBody>
          <a:bodyPr/>
          <a:lstStyle/>
          <a:p>
            <a:r>
              <a:rPr lang="nl-NL"/>
              <a:t>Behoefte functionele migratie SMZ</a:t>
            </a:r>
            <a:endParaRPr lang="en-GB" dirty="0"/>
          </a:p>
        </p:txBody>
      </p:sp>
      <p:sp>
        <p:nvSpPr>
          <p:cNvPr id="4" name="Slide Number Placeholder 3">
            <a:extLst>
              <a:ext uri="{FF2B5EF4-FFF2-40B4-BE49-F238E27FC236}">
                <a16:creationId xmlns:a16="http://schemas.microsoft.com/office/drawing/2014/main" id="{05F46C33-11B5-4854-A73C-662F3EA70A1D}"/>
              </a:ext>
            </a:extLst>
          </p:cNvPr>
          <p:cNvSpPr>
            <a:spLocks noGrp="1"/>
          </p:cNvSpPr>
          <p:nvPr>
            <p:ph type="sldNum" sz="quarter" idx="12"/>
          </p:nvPr>
        </p:nvSpPr>
        <p:spPr bwMode="gray"/>
        <p:txBody>
          <a:bodyPr/>
          <a:lstStyle/>
          <a:p>
            <a:fld id="{EEC0F82C-4994-47DA-8D9B-99D78D224F6D}" type="slidenum">
              <a:rPr lang="en-GB" smtClean="0"/>
              <a:pPr/>
              <a:t>‹nr.›</a:t>
            </a:fld>
            <a:endParaRPr lang="en-GB" dirty="0"/>
          </a:p>
        </p:txBody>
      </p:sp>
    </p:spTree>
    <p:extLst>
      <p:ext uri="{BB962C8B-B14F-4D97-AF65-F5344CB8AC3E}">
        <p14:creationId xmlns:p14="http://schemas.microsoft.com/office/powerpoint/2010/main" val="35821303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eeldvullende video">
    <p:bg>
      <p:bgPr>
        <a:solidFill>
          <a:srgbClr val="FFFFFF"/>
        </a:solidFill>
        <a:effectLst/>
      </p:bgPr>
    </p:bg>
    <p:spTree>
      <p:nvGrpSpPr>
        <p:cNvPr id="1" name=""/>
        <p:cNvGrpSpPr/>
        <p:nvPr/>
      </p:nvGrpSpPr>
      <p:grpSpPr>
        <a:xfrm>
          <a:off x="0" y="0"/>
          <a:ext cx="0" cy="0"/>
          <a:chOff x="0" y="0"/>
          <a:chExt cx="0" cy="0"/>
        </a:xfrm>
      </p:grpSpPr>
      <p:sp>
        <p:nvSpPr>
          <p:cNvPr id="153" name="Rectangle 152">
            <a:extLst>
              <a:ext uri="{FF2B5EF4-FFF2-40B4-BE49-F238E27FC236}">
                <a16:creationId xmlns:a16="http://schemas.microsoft.com/office/drawing/2014/main" id="{FC319A72-AE5E-4F89-BB04-08AE7E9369E9}"/>
              </a:ext>
            </a:extLst>
          </p:cNvPr>
          <p:cNvSpPr/>
          <p:nvPr userDrawn="1"/>
        </p:nvSpPr>
        <p:spPr bwMode="gray">
          <a:xfrm>
            <a:off x="-3714750" y="-933450"/>
            <a:ext cx="19621500" cy="87249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6" name="Text Placeholder 3">
            <a:extLst>
              <a:ext uri="{FF2B5EF4-FFF2-40B4-BE49-F238E27FC236}">
                <a16:creationId xmlns:a16="http://schemas.microsoft.com/office/drawing/2014/main" id="{06E9503B-E983-4F35-AB78-4EF62AE797AB}"/>
              </a:ext>
            </a:extLst>
          </p:cNvPr>
          <p:cNvSpPr txBox="1">
            <a:spLocks/>
          </p:cNvSpPr>
          <p:nvPr userDrawn="1"/>
        </p:nvSpPr>
        <p:spPr bwMode="gray">
          <a:xfrm>
            <a:off x="11047668" y="6285600"/>
            <a:ext cx="572400" cy="572400"/>
          </a:xfrm>
          <a:prstGeom prst="rect">
            <a:avLst/>
          </a:prstGeom>
          <a:blipFill>
            <a:blip r:embed="rId2"/>
            <a:stretch>
              <a:fillRect/>
            </a:stretch>
          </a:blipFill>
          <a:ln>
            <a:solidFill>
              <a:srgbClr val="0078D2"/>
            </a:solidFill>
          </a:ln>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grpSp>
        <p:nvGrpSpPr>
          <p:cNvPr id="154" name="Group 153">
            <a:extLst>
              <a:ext uri="{FF2B5EF4-FFF2-40B4-BE49-F238E27FC236}">
                <a16:creationId xmlns:a16="http://schemas.microsoft.com/office/drawing/2014/main" id="{B2D2A29F-49A8-4BD1-9236-0BD7B933FC9D}"/>
              </a:ext>
            </a:extLst>
          </p:cNvPr>
          <p:cNvGrpSpPr/>
          <p:nvPr userDrawn="1"/>
        </p:nvGrpSpPr>
        <p:grpSpPr bwMode="gray">
          <a:xfrm>
            <a:off x="-329239" y="-319423"/>
            <a:ext cx="12846009" cy="7500113"/>
            <a:chOff x="-329239" y="-319423"/>
            <a:chExt cx="12846009" cy="7500113"/>
          </a:xfrm>
        </p:grpSpPr>
        <p:grpSp>
          <p:nvGrpSpPr>
            <p:cNvPr id="155" name="Group 154">
              <a:extLst>
                <a:ext uri="{FF2B5EF4-FFF2-40B4-BE49-F238E27FC236}">
                  <a16:creationId xmlns:a16="http://schemas.microsoft.com/office/drawing/2014/main" id="{DC553E04-7609-45F2-9F24-E605BC02FEBA}"/>
                </a:ext>
              </a:extLst>
            </p:cNvPr>
            <p:cNvGrpSpPr/>
            <p:nvPr userDrawn="1"/>
          </p:nvGrpSpPr>
          <p:grpSpPr bwMode="gray">
            <a:xfrm>
              <a:off x="-329239" y="0"/>
              <a:ext cx="240289" cy="6858000"/>
              <a:chOff x="-319714" y="0"/>
              <a:chExt cx="240289" cy="6858000"/>
            </a:xfrm>
          </p:grpSpPr>
          <p:sp>
            <p:nvSpPr>
              <p:cNvPr id="272" name="Line 230">
                <a:extLst>
                  <a:ext uri="{FF2B5EF4-FFF2-40B4-BE49-F238E27FC236}">
                    <a16:creationId xmlns:a16="http://schemas.microsoft.com/office/drawing/2014/main" id="{76F33B9B-626E-4987-BFD4-DAA299DD9D4F}"/>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3" name="Line 232">
                <a:extLst>
                  <a:ext uri="{FF2B5EF4-FFF2-40B4-BE49-F238E27FC236}">
                    <a16:creationId xmlns:a16="http://schemas.microsoft.com/office/drawing/2014/main" id="{501EC2E0-59CE-4E32-B929-A733386ADF01}"/>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4" name="Line 234">
                <a:extLst>
                  <a:ext uri="{FF2B5EF4-FFF2-40B4-BE49-F238E27FC236}">
                    <a16:creationId xmlns:a16="http://schemas.microsoft.com/office/drawing/2014/main" id="{7DC73A29-E969-45D7-9CA6-581FC4F243A4}"/>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275" name="Line 236">
                <a:extLst>
                  <a:ext uri="{FF2B5EF4-FFF2-40B4-BE49-F238E27FC236}">
                    <a16:creationId xmlns:a16="http://schemas.microsoft.com/office/drawing/2014/main" id="{52E5AA95-BA52-4884-8410-A464B2C65697}"/>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6" name="Line 238">
                <a:extLst>
                  <a:ext uri="{FF2B5EF4-FFF2-40B4-BE49-F238E27FC236}">
                    <a16:creationId xmlns:a16="http://schemas.microsoft.com/office/drawing/2014/main" id="{C7AD3791-48E5-48DC-AC5E-BFFB21F91753}"/>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7" name="Line 240">
                <a:extLst>
                  <a:ext uri="{FF2B5EF4-FFF2-40B4-BE49-F238E27FC236}">
                    <a16:creationId xmlns:a16="http://schemas.microsoft.com/office/drawing/2014/main" id="{01966582-81F8-4737-94A4-4013852590E1}"/>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8" name="Line 244">
                <a:extLst>
                  <a:ext uri="{FF2B5EF4-FFF2-40B4-BE49-F238E27FC236}">
                    <a16:creationId xmlns:a16="http://schemas.microsoft.com/office/drawing/2014/main" id="{781FFAC5-733F-432C-8F77-B7ABE7D77124}"/>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9" name="Line 246">
                <a:extLst>
                  <a:ext uri="{FF2B5EF4-FFF2-40B4-BE49-F238E27FC236}">
                    <a16:creationId xmlns:a16="http://schemas.microsoft.com/office/drawing/2014/main" id="{EFDEE58B-193A-40A3-8A64-BE1DB0591067}"/>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0" name="Line 250">
                <a:extLst>
                  <a:ext uri="{FF2B5EF4-FFF2-40B4-BE49-F238E27FC236}">
                    <a16:creationId xmlns:a16="http://schemas.microsoft.com/office/drawing/2014/main" id="{E74EF81A-A1C0-4426-8C35-DBCBFCB345F2}"/>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1" name="Line 252">
                <a:extLst>
                  <a:ext uri="{FF2B5EF4-FFF2-40B4-BE49-F238E27FC236}">
                    <a16:creationId xmlns:a16="http://schemas.microsoft.com/office/drawing/2014/main" id="{0570C5A7-3269-47FF-B4F3-21A9A42A083D}"/>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2" name="Line 254">
                <a:extLst>
                  <a:ext uri="{FF2B5EF4-FFF2-40B4-BE49-F238E27FC236}">
                    <a16:creationId xmlns:a16="http://schemas.microsoft.com/office/drawing/2014/main" id="{A97B557B-65A2-43F0-8DEA-227B08975BA6}"/>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3" name="Line 256">
                <a:extLst>
                  <a:ext uri="{FF2B5EF4-FFF2-40B4-BE49-F238E27FC236}">
                    <a16:creationId xmlns:a16="http://schemas.microsoft.com/office/drawing/2014/main" id="{DA7F0647-7BAF-4A81-B891-A74A230DA90C}"/>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4" name="Line 258">
                <a:extLst>
                  <a:ext uri="{FF2B5EF4-FFF2-40B4-BE49-F238E27FC236}">
                    <a16:creationId xmlns:a16="http://schemas.microsoft.com/office/drawing/2014/main" id="{86C48C3F-BF82-452E-8D2D-49FFDBB93638}"/>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5" name="Line 260">
                <a:extLst>
                  <a:ext uri="{FF2B5EF4-FFF2-40B4-BE49-F238E27FC236}">
                    <a16:creationId xmlns:a16="http://schemas.microsoft.com/office/drawing/2014/main" id="{C56B251E-559C-4956-9AE7-BBD28D1A3A7E}"/>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6" name="Line 262">
                <a:extLst>
                  <a:ext uri="{FF2B5EF4-FFF2-40B4-BE49-F238E27FC236}">
                    <a16:creationId xmlns:a16="http://schemas.microsoft.com/office/drawing/2014/main" id="{F9EC281A-6AE9-4D7A-AA75-BDF86328FFDB}"/>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7" name="Line 264">
                <a:extLst>
                  <a:ext uri="{FF2B5EF4-FFF2-40B4-BE49-F238E27FC236}">
                    <a16:creationId xmlns:a16="http://schemas.microsoft.com/office/drawing/2014/main" id="{A45DFCA2-3D84-4DC0-862E-FF78BE5BAE80}"/>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8" name="Line 266">
                <a:extLst>
                  <a:ext uri="{FF2B5EF4-FFF2-40B4-BE49-F238E27FC236}">
                    <a16:creationId xmlns:a16="http://schemas.microsoft.com/office/drawing/2014/main" id="{63648940-F1BA-4CDB-8E34-3016056BEF4C}"/>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9" name="Line 268">
                <a:extLst>
                  <a:ext uri="{FF2B5EF4-FFF2-40B4-BE49-F238E27FC236}">
                    <a16:creationId xmlns:a16="http://schemas.microsoft.com/office/drawing/2014/main" id="{F9D4DB0E-F96D-449C-B033-9AF00582ED3D}"/>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0" name="Line 270">
                <a:extLst>
                  <a:ext uri="{FF2B5EF4-FFF2-40B4-BE49-F238E27FC236}">
                    <a16:creationId xmlns:a16="http://schemas.microsoft.com/office/drawing/2014/main" id="{E4ED1B3D-195B-4C7F-9BEF-9A738125F875}"/>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1" name="Line 272">
                <a:extLst>
                  <a:ext uri="{FF2B5EF4-FFF2-40B4-BE49-F238E27FC236}">
                    <a16:creationId xmlns:a16="http://schemas.microsoft.com/office/drawing/2014/main" id="{EBADD4B6-A166-4235-8E6C-2F28214E3899}"/>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2" name="Line 274">
                <a:extLst>
                  <a:ext uri="{FF2B5EF4-FFF2-40B4-BE49-F238E27FC236}">
                    <a16:creationId xmlns:a16="http://schemas.microsoft.com/office/drawing/2014/main" id="{49F1DDF9-89D8-4FAB-99EE-8C9E72D0C72F}"/>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3" name="Line 276">
                <a:extLst>
                  <a:ext uri="{FF2B5EF4-FFF2-40B4-BE49-F238E27FC236}">
                    <a16:creationId xmlns:a16="http://schemas.microsoft.com/office/drawing/2014/main" id="{BAB83854-8D60-44FB-8146-35D9E98D979D}"/>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4" name="Line 278">
                <a:extLst>
                  <a:ext uri="{FF2B5EF4-FFF2-40B4-BE49-F238E27FC236}">
                    <a16:creationId xmlns:a16="http://schemas.microsoft.com/office/drawing/2014/main" id="{888824B5-92A9-4406-9E41-994B5A2C74C1}"/>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5" name="Line 256">
                <a:extLst>
                  <a:ext uri="{FF2B5EF4-FFF2-40B4-BE49-F238E27FC236}">
                    <a16:creationId xmlns:a16="http://schemas.microsoft.com/office/drawing/2014/main" id="{98427381-8957-4C6C-A1C9-3DA6CD56A19D}"/>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6" name="Line 234">
                <a:extLst>
                  <a:ext uri="{FF2B5EF4-FFF2-40B4-BE49-F238E27FC236}">
                    <a16:creationId xmlns:a16="http://schemas.microsoft.com/office/drawing/2014/main" id="{D16F6223-1B2F-4A16-A242-D3359BFB4AC1}"/>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156" name="Group 155">
              <a:extLst>
                <a:ext uri="{FF2B5EF4-FFF2-40B4-BE49-F238E27FC236}">
                  <a16:creationId xmlns:a16="http://schemas.microsoft.com/office/drawing/2014/main" id="{C3B08EB7-CDA8-4B8B-A8C9-AB24C7AA0CB9}"/>
                </a:ext>
              </a:extLst>
            </p:cNvPr>
            <p:cNvGrpSpPr/>
            <p:nvPr userDrawn="1"/>
          </p:nvGrpSpPr>
          <p:grpSpPr bwMode="gray">
            <a:xfrm>
              <a:off x="0" y="-319423"/>
              <a:ext cx="12192000" cy="232538"/>
              <a:chOff x="0" y="-319423"/>
              <a:chExt cx="12192000" cy="232538"/>
            </a:xfrm>
          </p:grpSpPr>
          <p:sp>
            <p:nvSpPr>
              <p:cNvPr id="228" name="Line 146">
                <a:extLst>
                  <a:ext uri="{FF2B5EF4-FFF2-40B4-BE49-F238E27FC236}">
                    <a16:creationId xmlns:a16="http://schemas.microsoft.com/office/drawing/2014/main" id="{C6C544B6-6722-4A8E-820C-DBD7250F51CB}"/>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9" name="Line 148">
                <a:extLst>
                  <a:ext uri="{FF2B5EF4-FFF2-40B4-BE49-F238E27FC236}">
                    <a16:creationId xmlns:a16="http://schemas.microsoft.com/office/drawing/2014/main" id="{4C5E3ABA-2B3D-44D7-8D4B-AD369018049B}"/>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0" name="Line 150">
                <a:extLst>
                  <a:ext uri="{FF2B5EF4-FFF2-40B4-BE49-F238E27FC236}">
                    <a16:creationId xmlns:a16="http://schemas.microsoft.com/office/drawing/2014/main" id="{D0E8478E-036D-46F6-BB90-7CC3F6B73764}"/>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1" name="Line 152">
                <a:extLst>
                  <a:ext uri="{FF2B5EF4-FFF2-40B4-BE49-F238E27FC236}">
                    <a16:creationId xmlns:a16="http://schemas.microsoft.com/office/drawing/2014/main" id="{1B9D419D-AC4A-4048-853C-4764EDB15AD8}"/>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2" name="Line 154">
                <a:extLst>
                  <a:ext uri="{FF2B5EF4-FFF2-40B4-BE49-F238E27FC236}">
                    <a16:creationId xmlns:a16="http://schemas.microsoft.com/office/drawing/2014/main" id="{6AFAC7F8-FFE5-40CD-AD62-CB5373A01AC0}"/>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3" name="Line 156">
                <a:extLst>
                  <a:ext uri="{FF2B5EF4-FFF2-40B4-BE49-F238E27FC236}">
                    <a16:creationId xmlns:a16="http://schemas.microsoft.com/office/drawing/2014/main" id="{6F4C541B-9B6D-41E9-925E-D827BB906D0C}"/>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4" name="Line 158">
                <a:extLst>
                  <a:ext uri="{FF2B5EF4-FFF2-40B4-BE49-F238E27FC236}">
                    <a16:creationId xmlns:a16="http://schemas.microsoft.com/office/drawing/2014/main" id="{996C67BE-C0CB-4461-8175-C275ED762C37}"/>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5" name="Line 160">
                <a:extLst>
                  <a:ext uri="{FF2B5EF4-FFF2-40B4-BE49-F238E27FC236}">
                    <a16:creationId xmlns:a16="http://schemas.microsoft.com/office/drawing/2014/main" id="{DAB1B0DD-128B-4C47-B954-41583D9D8EE2}"/>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6" name="Line 162">
                <a:extLst>
                  <a:ext uri="{FF2B5EF4-FFF2-40B4-BE49-F238E27FC236}">
                    <a16:creationId xmlns:a16="http://schemas.microsoft.com/office/drawing/2014/main" id="{0ECA7F80-BD69-48C1-AE42-AA5978E641D4}"/>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7" name="Line 164">
                <a:extLst>
                  <a:ext uri="{FF2B5EF4-FFF2-40B4-BE49-F238E27FC236}">
                    <a16:creationId xmlns:a16="http://schemas.microsoft.com/office/drawing/2014/main" id="{FE08E5FD-547C-46FC-80CD-B71ACFB05D08}"/>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8" name="Line 166">
                <a:extLst>
                  <a:ext uri="{FF2B5EF4-FFF2-40B4-BE49-F238E27FC236}">
                    <a16:creationId xmlns:a16="http://schemas.microsoft.com/office/drawing/2014/main" id="{A6177A19-0AB1-4925-9043-96D8571CD26C}"/>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9" name="Line 168">
                <a:extLst>
                  <a:ext uri="{FF2B5EF4-FFF2-40B4-BE49-F238E27FC236}">
                    <a16:creationId xmlns:a16="http://schemas.microsoft.com/office/drawing/2014/main" id="{8E288D61-8AF6-4356-82EB-08CA511F108C}"/>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0" name="Line 170">
                <a:extLst>
                  <a:ext uri="{FF2B5EF4-FFF2-40B4-BE49-F238E27FC236}">
                    <a16:creationId xmlns:a16="http://schemas.microsoft.com/office/drawing/2014/main" id="{C54A2329-E00F-406E-95DE-2C6A35093ADA}"/>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1" name="Line 172">
                <a:extLst>
                  <a:ext uri="{FF2B5EF4-FFF2-40B4-BE49-F238E27FC236}">
                    <a16:creationId xmlns:a16="http://schemas.microsoft.com/office/drawing/2014/main" id="{7015FDD3-FBC7-4C18-8FFF-2316FAAC25C5}"/>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2" name="Line 174">
                <a:extLst>
                  <a:ext uri="{FF2B5EF4-FFF2-40B4-BE49-F238E27FC236}">
                    <a16:creationId xmlns:a16="http://schemas.microsoft.com/office/drawing/2014/main" id="{02E0E0B5-0F96-44C6-AF16-5BA9306A7B87}"/>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3" name="Line 176">
                <a:extLst>
                  <a:ext uri="{FF2B5EF4-FFF2-40B4-BE49-F238E27FC236}">
                    <a16:creationId xmlns:a16="http://schemas.microsoft.com/office/drawing/2014/main" id="{8EFA9D2D-3F4A-4234-A193-979BE9C52EE3}"/>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4" name="Line 178">
                <a:extLst>
                  <a:ext uri="{FF2B5EF4-FFF2-40B4-BE49-F238E27FC236}">
                    <a16:creationId xmlns:a16="http://schemas.microsoft.com/office/drawing/2014/main" id="{00DA7E40-B33F-4709-8791-72E56D461ED9}"/>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5" name="Line 180">
                <a:extLst>
                  <a:ext uri="{FF2B5EF4-FFF2-40B4-BE49-F238E27FC236}">
                    <a16:creationId xmlns:a16="http://schemas.microsoft.com/office/drawing/2014/main" id="{EBEAED16-0809-45A3-90D2-F1970C42934B}"/>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6" name="Line 182">
                <a:extLst>
                  <a:ext uri="{FF2B5EF4-FFF2-40B4-BE49-F238E27FC236}">
                    <a16:creationId xmlns:a16="http://schemas.microsoft.com/office/drawing/2014/main" id="{DD1AAED3-BED2-449B-A3BF-9F153F0CCC34}"/>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7" name="Line 184">
                <a:extLst>
                  <a:ext uri="{FF2B5EF4-FFF2-40B4-BE49-F238E27FC236}">
                    <a16:creationId xmlns:a16="http://schemas.microsoft.com/office/drawing/2014/main" id="{AA8B503E-BFE4-4D80-BC11-B3C6A82CDC27}"/>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8" name="Line 186">
                <a:extLst>
                  <a:ext uri="{FF2B5EF4-FFF2-40B4-BE49-F238E27FC236}">
                    <a16:creationId xmlns:a16="http://schemas.microsoft.com/office/drawing/2014/main" id="{880150B3-7AF0-4DB6-8C78-589AF77E949D}"/>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9" name="Line 188">
                <a:extLst>
                  <a:ext uri="{FF2B5EF4-FFF2-40B4-BE49-F238E27FC236}">
                    <a16:creationId xmlns:a16="http://schemas.microsoft.com/office/drawing/2014/main" id="{54F7E8F5-3A82-4553-8D4E-720198CB7BC4}"/>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0" name="Line 190">
                <a:extLst>
                  <a:ext uri="{FF2B5EF4-FFF2-40B4-BE49-F238E27FC236}">
                    <a16:creationId xmlns:a16="http://schemas.microsoft.com/office/drawing/2014/main" id="{126A3E81-0592-4374-B0AE-CD272079B1A3}"/>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1" name="Line 192">
                <a:extLst>
                  <a:ext uri="{FF2B5EF4-FFF2-40B4-BE49-F238E27FC236}">
                    <a16:creationId xmlns:a16="http://schemas.microsoft.com/office/drawing/2014/main" id="{37CCAF23-EFED-4CBF-A141-AA43053F4F26}"/>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2" name="Line 194">
                <a:extLst>
                  <a:ext uri="{FF2B5EF4-FFF2-40B4-BE49-F238E27FC236}">
                    <a16:creationId xmlns:a16="http://schemas.microsoft.com/office/drawing/2014/main" id="{E9C1C967-4856-4B55-90B9-0824A45E1B67}"/>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3" name="Line 196">
                <a:extLst>
                  <a:ext uri="{FF2B5EF4-FFF2-40B4-BE49-F238E27FC236}">
                    <a16:creationId xmlns:a16="http://schemas.microsoft.com/office/drawing/2014/main" id="{B5E4FE39-AA57-4DB9-8677-FBC8BBFB6CEB}"/>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4" name="Line 198">
                <a:extLst>
                  <a:ext uri="{FF2B5EF4-FFF2-40B4-BE49-F238E27FC236}">
                    <a16:creationId xmlns:a16="http://schemas.microsoft.com/office/drawing/2014/main" id="{F643C4B8-5ACE-4A98-BF95-FF3C877D311C}"/>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5" name="Line 200">
                <a:extLst>
                  <a:ext uri="{FF2B5EF4-FFF2-40B4-BE49-F238E27FC236}">
                    <a16:creationId xmlns:a16="http://schemas.microsoft.com/office/drawing/2014/main" id="{70BAFF25-E951-447E-9B63-6186546756BA}"/>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6" name="Line 202">
                <a:extLst>
                  <a:ext uri="{FF2B5EF4-FFF2-40B4-BE49-F238E27FC236}">
                    <a16:creationId xmlns:a16="http://schemas.microsoft.com/office/drawing/2014/main" id="{C05BAC9D-2278-457C-8866-C6D0DA674885}"/>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7" name="Line 204">
                <a:extLst>
                  <a:ext uri="{FF2B5EF4-FFF2-40B4-BE49-F238E27FC236}">
                    <a16:creationId xmlns:a16="http://schemas.microsoft.com/office/drawing/2014/main" id="{9F2B51D3-2C58-4F15-ACC5-4BD4912CAA1D}"/>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8" name="Line 206">
                <a:extLst>
                  <a:ext uri="{FF2B5EF4-FFF2-40B4-BE49-F238E27FC236}">
                    <a16:creationId xmlns:a16="http://schemas.microsoft.com/office/drawing/2014/main" id="{30F4B8A3-624C-4DF2-B2D4-C921235832C7}"/>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9" name="Line 208">
                <a:extLst>
                  <a:ext uri="{FF2B5EF4-FFF2-40B4-BE49-F238E27FC236}">
                    <a16:creationId xmlns:a16="http://schemas.microsoft.com/office/drawing/2014/main" id="{5DB7BE84-4AC5-4E26-8D35-0A55AE9CCEA2}"/>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0" name="Line 210">
                <a:extLst>
                  <a:ext uri="{FF2B5EF4-FFF2-40B4-BE49-F238E27FC236}">
                    <a16:creationId xmlns:a16="http://schemas.microsoft.com/office/drawing/2014/main" id="{AE8CEA45-DF34-46E6-B4BA-139D211AAEE8}"/>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1" name="Line 212">
                <a:extLst>
                  <a:ext uri="{FF2B5EF4-FFF2-40B4-BE49-F238E27FC236}">
                    <a16:creationId xmlns:a16="http://schemas.microsoft.com/office/drawing/2014/main" id="{122A9BD8-AFB3-4D02-83E3-CB2B407EB21D}"/>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2" name="Line 214">
                <a:extLst>
                  <a:ext uri="{FF2B5EF4-FFF2-40B4-BE49-F238E27FC236}">
                    <a16:creationId xmlns:a16="http://schemas.microsoft.com/office/drawing/2014/main" id="{AC843ED1-AC5F-450C-8F2B-5D3047363299}"/>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3" name="Line 216">
                <a:extLst>
                  <a:ext uri="{FF2B5EF4-FFF2-40B4-BE49-F238E27FC236}">
                    <a16:creationId xmlns:a16="http://schemas.microsoft.com/office/drawing/2014/main" id="{B189D3AA-0EC9-4C0B-8C52-2CC238B0FF88}"/>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4" name="Line 218">
                <a:extLst>
                  <a:ext uri="{FF2B5EF4-FFF2-40B4-BE49-F238E27FC236}">
                    <a16:creationId xmlns:a16="http://schemas.microsoft.com/office/drawing/2014/main" id="{8FD9D0B5-9431-4E8C-AE25-82B6C7C8C43E}"/>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5" name="Line 220">
                <a:extLst>
                  <a:ext uri="{FF2B5EF4-FFF2-40B4-BE49-F238E27FC236}">
                    <a16:creationId xmlns:a16="http://schemas.microsoft.com/office/drawing/2014/main" id="{66E7B360-A5C3-4491-8604-E3A88E696CFE}"/>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6" name="Line 222">
                <a:extLst>
                  <a:ext uri="{FF2B5EF4-FFF2-40B4-BE49-F238E27FC236}">
                    <a16:creationId xmlns:a16="http://schemas.microsoft.com/office/drawing/2014/main" id="{CF82C948-33D0-4FF4-BAA3-F548FEECE6ED}"/>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7" name="Line 224">
                <a:extLst>
                  <a:ext uri="{FF2B5EF4-FFF2-40B4-BE49-F238E27FC236}">
                    <a16:creationId xmlns:a16="http://schemas.microsoft.com/office/drawing/2014/main" id="{A3EC6EC3-C394-4A72-9422-E14CB84B9177}"/>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8" name="Line 226">
                <a:extLst>
                  <a:ext uri="{FF2B5EF4-FFF2-40B4-BE49-F238E27FC236}">
                    <a16:creationId xmlns:a16="http://schemas.microsoft.com/office/drawing/2014/main" id="{ED8A8C64-9689-403B-87D5-6CB55AD2F178}"/>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9" name="Line 228">
                <a:extLst>
                  <a:ext uri="{FF2B5EF4-FFF2-40B4-BE49-F238E27FC236}">
                    <a16:creationId xmlns:a16="http://schemas.microsoft.com/office/drawing/2014/main" id="{0F4C58AD-2402-4CC2-A791-2C555A7EAFDD}"/>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0" name="Line 146">
                <a:extLst>
                  <a:ext uri="{FF2B5EF4-FFF2-40B4-BE49-F238E27FC236}">
                    <a16:creationId xmlns:a16="http://schemas.microsoft.com/office/drawing/2014/main" id="{7DA71E31-2782-42CB-AB32-48F2C9D94221}"/>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1" name="Line 204">
                <a:extLst>
                  <a:ext uri="{FF2B5EF4-FFF2-40B4-BE49-F238E27FC236}">
                    <a16:creationId xmlns:a16="http://schemas.microsoft.com/office/drawing/2014/main" id="{D0657184-554B-489F-97D5-76A2B7B682F4}"/>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57" name="Group 156">
              <a:extLst>
                <a:ext uri="{FF2B5EF4-FFF2-40B4-BE49-F238E27FC236}">
                  <a16:creationId xmlns:a16="http://schemas.microsoft.com/office/drawing/2014/main" id="{0F6EB885-E29D-45A3-9BB4-5716E432C5D1}"/>
                </a:ext>
              </a:extLst>
            </p:cNvPr>
            <p:cNvGrpSpPr/>
            <p:nvPr userDrawn="1"/>
          </p:nvGrpSpPr>
          <p:grpSpPr bwMode="gray">
            <a:xfrm>
              <a:off x="0" y="6948152"/>
              <a:ext cx="12192000" cy="232538"/>
              <a:chOff x="0" y="-319423"/>
              <a:chExt cx="12192000" cy="232538"/>
            </a:xfrm>
          </p:grpSpPr>
          <p:sp>
            <p:nvSpPr>
              <p:cNvPr id="184" name="Line 146">
                <a:extLst>
                  <a:ext uri="{FF2B5EF4-FFF2-40B4-BE49-F238E27FC236}">
                    <a16:creationId xmlns:a16="http://schemas.microsoft.com/office/drawing/2014/main" id="{DD7F6DD9-5592-476A-80DE-3429E1F49AA5}"/>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5" name="Line 148">
                <a:extLst>
                  <a:ext uri="{FF2B5EF4-FFF2-40B4-BE49-F238E27FC236}">
                    <a16:creationId xmlns:a16="http://schemas.microsoft.com/office/drawing/2014/main" id="{E7E86FFD-C1F7-4E77-A4D7-F08E7FCE3655}"/>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6" name="Line 150">
                <a:extLst>
                  <a:ext uri="{FF2B5EF4-FFF2-40B4-BE49-F238E27FC236}">
                    <a16:creationId xmlns:a16="http://schemas.microsoft.com/office/drawing/2014/main" id="{46DE9C71-BA0B-47EC-89FC-C90B893BE01C}"/>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7" name="Line 152">
                <a:extLst>
                  <a:ext uri="{FF2B5EF4-FFF2-40B4-BE49-F238E27FC236}">
                    <a16:creationId xmlns:a16="http://schemas.microsoft.com/office/drawing/2014/main" id="{4354BEDB-26D6-43D0-B10C-AD616A8408AD}"/>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8" name="Line 154">
                <a:extLst>
                  <a:ext uri="{FF2B5EF4-FFF2-40B4-BE49-F238E27FC236}">
                    <a16:creationId xmlns:a16="http://schemas.microsoft.com/office/drawing/2014/main" id="{E1E29F35-5615-4B01-AF6A-A3E02ACEBB78}"/>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9" name="Line 156">
                <a:extLst>
                  <a:ext uri="{FF2B5EF4-FFF2-40B4-BE49-F238E27FC236}">
                    <a16:creationId xmlns:a16="http://schemas.microsoft.com/office/drawing/2014/main" id="{5657F83A-9D58-4613-A102-196A45167459}"/>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0" name="Line 158">
                <a:extLst>
                  <a:ext uri="{FF2B5EF4-FFF2-40B4-BE49-F238E27FC236}">
                    <a16:creationId xmlns:a16="http://schemas.microsoft.com/office/drawing/2014/main" id="{05CB7B25-EBA6-44EB-8CF2-D8AA449A0A2F}"/>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1" name="Line 160">
                <a:extLst>
                  <a:ext uri="{FF2B5EF4-FFF2-40B4-BE49-F238E27FC236}">
                    <a16:creationId xmlns:a16="http://schemas.microsoft.com/office/drawing/2014/main" id="{60FA6D0E-C9CC-4CE9-99DF-59456DF2F822}"/>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2" name="Line 162">
                <a:extLst>
                  <a:ext uri="{FF2B5EF4-FFF2-40B4-BE49-F238E27FC236}">
                    <a16:creationId xmlns:a16="http://schemas.microsoft.com/office/drawing/2014/main" id="{9A5000F4-E6C5-4EBD-A813-9E0E80AFF65A}"/>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3" name="Line 164">
                <a:extLst>
                  <a:ext uri="{FF2B5EF4-FFF2-40B4-BE49-F238E27FC236}">
                    <a16:creationId xmlns:a16="http://schemas.microsoft.com/office/drawing/2014/main" id="{60F45262-4F3B-4B74-A2A5-1CEA0DE386DA}"/>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4" name="Line 166">
                <a:extLst>
                  <a:ext uri="{FF2B5EF4-FFF2-40B4-BE49-F238E27FC236}">
                    <a16:creationId xmlns:a16="http://schemas.microsoft.com/office/drawing/2014/main" id="{2B8CEE99-D5CB-4B37-ACC2-3F44B8A53DE4}"/>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5" name="Line 168">
                <a:extLst>
                  <a:ext uri="{FF2B5EF4-FFF2-40B4-BE49-F238E27FC236}">
                    <a16:creationId xmlns:a16="http://schemas.microsoft.com/office/drawing/2014/main" id="{277C2010-FDCE-406B-8387-C6F3D88E0D0D}"/>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6" name="Line 170">
                <a:extLst>
                  <a:ext uri="{FF2B5EF4-FFF2-40B4-BE49-F238E27FC236}">
                    <a16:creationId xmlns:a16="http://schemas.microsoft.com/office/drawing/2014/main" id="{89E024B1-C730-4526-BF2C-FF6E1CDFD0F9}"/>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7" name="Line 172">
                <a:extLst>
                  <a:ext uri="{FF2B5EF4-FFF2-40B4-BE49-F238E27FC236}">
                    <a16:creationId xmlns:a16="http://schemas.microsoft.com/office/drawing/2014/main" id="{D1D3F1EF-F7C9-48F7-9430-1E80B90D664F}"/>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8" name="Line 174">
                <a:extLst>
                  <a:ext uri="{FF2B5EF4-FFF2-40B4-BE49-F238E27FC236}">
                    <a16:creationId xmlns:a16="http://schemas.microsoft.com/office/drawing/2014/main" id="{ED9E35A4-1152-410C-908D-2523DDCF6138}"/>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9" name="Line 176">
                <a:extLst>
                  <a:ext uri="{FF2B5EF4-FFF2-40B4-BE49-F238E27FC236}">
                    <a16:creationId xmlns:a16="http://schemas.microsoft.com/office/drawing/2014/main" id="{49045BC8-9948-4048-A5E2-DAE78E1C3E4B}"/>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0" name="Line 178">
                <a:extLst>
                  <a:ext uri="{FF2B5EF4-FFF2-40B4-BE49-F238E27FC236}">
                    <a16:creationId xmlns:a16="http://schemas.microsoft.com/office/drawing/2014/main" id="{26E5DA0C-FB44-4E66-A2D5-CD0C773CD719}"/>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1" name="Line 180">
                <a:extLst>
                  <a:ext uri="{FF2B5EF4-FFF2-40B4-BE49-F238E27FC236}">
                    <a16:creationId xmlns:a16="http://schemas.microsoft.com/office/drawing/2014/main" id="{17332DD8-D6EA-4015-8D1E-DAB0ABE60035}"/>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2" name="Line 182">
                <a:extLst>
                  <a:ext uri="{FF2B5EF4-FFF2-40B4-BE49-F238E27FC236}">
                    <a16:creationId xmlns:a16="http://schemas.microsoft.com/office/drawing/2014/main" id="{1BAB0609-EEC2-4A39-BF12-754E28D07D59}"/>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3" name="Line 184">
                <a:extLst>
                  <a:ext uri="{FF2B5EF4-FFF2-40B4-BE49-F238E27FC236}">
                    <a16:creationId xmlns:a16="http://schemas.microsoft.com/office/drawing/2014/main" id="{59A3E7A3-B70E-43C2-A53A-FFBBA9043321}"/>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4" name="Line 186">
                <a:extLst>
                  <a:ext uri="{FF2B5EF4-FFF2-40B4-BE49-F238E27FC236}">
                    <a16:creationId xmlns:a16="http://schemas.microsoft.com/office/drawing/2014/main" id="{5FF0AE7D-9AF2-48F0-9867-9C80D092BE52}"/>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5" name="Line 188">
                <a:extLst>
                  <a:ext uri="{FF2B5EF4-FFF2-40B4-BE49-F238E27FC236}">
                    <a16:creationId xmlns:a16="http://schemas.microsoft.com/office/drawing/2014/main" id="{C7205EAE-6F27-4FB5-90B2-3F12E980AE9F}"/>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6" name="Line 190">
                <a:extLst>
                  <a:ext uri="{FF2B5EF4-FFF2-40B4-BE49-F238E27FC236}">
                    <a16:creationId xmlns:a16="http://schemas.microsoft.com/office/drawing/2014/main" id="{B7AB61AD-FC3C-4302-A70F-8340066BC9AF}"/>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7" name="Line 192">
                <a:extLst>
                  <a:ext uri="{FF2B5EF4-FFF2-40B4-BE49-F238E27FC236}">
                    <a16:creationId xmlns:a16="http://schemas.microsoft.com/office/drawing/2014/main" id="{974F6CAC-0130-4167-948F-051630A4FF98}"/>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8" name="Line 194">
                <a:extLst>
                  <a:ext uri="{FF2B5EF4-FFF2-40B4-BE49-F238E27FC236}">
                    <a16:creationId xmlns:a16="http://schemas.microsoft.com/office/drawing/2014/main" id="{0EAADCB1-D286-4995-8F76-0799F71C843E}"/>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9" name="Line 196">
                <a:extLst>
                  <a:ext uri="{FF2B5EF4-FFF2-40B4-BE49-F238E27FC236}">
                    <a16:creationId xmlns:a16="http://schemas.microsoft.com/office/drawing/2014/main" id="{C507D958-54DE-4A29-BF24-D2BA6EC11211}"/>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0" name="Line 198">
                <a:extLst>
                  <a:ext uri="{FF2B5EF4-FFF2-40B4-BE49-F238E27FC236}">
                    <a16:creationId xmlns:a16="http://schemas.microsoft.com/office/drawing/2014/main" id="{682F8E96-62CF-481D-A7D4-66617C525D72}"/>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1" name="Line 200">
                <a:extLst>
                  <a:ext uri="{FF2B5EF4-FFF2-40B4-BE49-F238E27FC236}">
                    <a16:creationId xmlns:a16="http://schemas.microsoft.com/office/drawing/2014/main" id="{9592E3E5-D878-4982-B460-026EEFE93F15}"/>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2" name="Line 202">
                <a:extLst>
                  <a:ext uri="{FF2B5EF4-FFF2-40B4-BE49-F238E27FC236}">
                    <a16:creationId xmlns:a16="http://schemas.microsoft.com/office/drawing/2014/main" id="{DED1B723-EDF4-42C4-A856-5C728D823C6B}"/>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3" name="Line 204">
                <a:extLst>
                  <a:ext uri="{FF2B5EF4-FFF2-40B4-BE49-F238E27FC236}">
                    <a16:creationId xmlns:a16="http://schemas.microsoft.com/office/drawing/2014/main" id="{142E2422-AC70-488D-8DB1-6FF557A2BD66}"/>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4" name="Line 206">
                <a:extLst>
                  <a:ext uri="{FF2B5EF4-FFF2-40B4-BE49-F238E27FC236}">
                    <a16:creationId xmlns:a16="http://schemas.microsoft.com/office/drawing/2014/main" id="{375DF617-A0C6-484F-868F-B8C17E0407CD}"/>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5" name="Line 208">
                <a:extLst>
                  <a:ext uri="{FF2B5EF4-FFF2-40B4-BE49-F238E27FC236}">
                    <a16:creationId xmlns:a16="http://schemas.microsoft.com/office/drawing/2014/main" id="{887C4861-694F-4931-93AE-8C04D2814677}"/>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6" name="Line 210">
                <a:extLst>
                  <a:ext uri="{FF2B5EF4-FFF2-40B4-BE49-F238E27FC236}">
                    <a16:creationId xmlns:a16="http://schemas.microsoft.com/office/drawing/2014/main" id="{AC4724F4-6D01-4294-9895-394B250D815A}"/>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7" name="Line 212">
                <a:extLst>
                  <a:ext uri="{FF2B5EF4-FFF2-40B4-BE49-F238E27FC236}">
                    <a16:creationId xmlns:a16="http://schemas.microsoft.com/office/drawing/2014/main" id="{0DF5F74F-3A04-4C4F-A54A-429EA5A38D12}"/>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8" name="Line 214">
                <a:extLst>
                  <a:ext uri="{FF2B5EF4-FFF2-40B4-BE49-F238E27FC236}">
                    <a16:creationId xmlns:a16="http://schemas.microsoft.com/office/drawing/2014/main" id="{95944D8F-1A4F-47AD-9DFA-85B28058302B}"/>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9" name="Line 216">
                <a:extLst>
                  <a:ext uri="{FF2B5EF4-FFF2-40B4-BE49-F238E27FC236}">
                    <a16:creationId xmlns:a16="http://schemas.microsoft.com/office/drawing/2014/main" id="{8AA5DBA1-8D3A-414C-8E6D-6E0A233081B5}"/>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0" name="Line 218">
                <a:extLst>
                  <a:ext uri="{FF2B5EF4-FFF2-40B4-BE49-F238E27FC236}">
                    <a16:creationId xmlns:a16="http://schemas.microsoft.com/office/drawing/2014/main" id="{30B720C5-C133-4905-95EC-C30C231E86C2}"/>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1" name="Line 220">
                <a:extLst>
                  <a:ext uri="{FF2B5EF4-FFF2-40B4-BE49-F238E27FC236}">
                    <a16:creationId xmlns:a16="http://schemas.microsoft.com/office/drawing/2014/main" id="{641F37C7-0EB2-425E-8596-D80015FA5091}"/>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2" name="Line 222">
                <a:extLst>
                  <a:ext uri="{FF2B5EF4-FFF2-40B4-BE49-F238E27FC236}">
                    <a16:creationId xmlns:a16="http://schemas.microsoft.com/office/drawing/2014/main" id="{A4DE289D-F7A5-4C30-819C-066BFD4CEC71}"/>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3" name="Line 224">
                <a:extLst>
                  <a:ext uri="{FF2B5EF4-FFF2-40B4-BE49-F238E27FC236}">
                    <a16:creationId xmlns:a16="http://schemas.microsoft.com/office/drawing/2014/main" id="{06F636CE-75C3-4289-908F-3C87A267FF93}"/>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4" name="Line 226">
                <a:extLst>
                  <a:ext uri="{FF2B5EF4-FFF2-40B4-BE49-F238E27FC236}">
                    <a16:creationId xmlns:a16="http://schemas.microsoft.com/office/drawing/2014/main" id="{30D1A007-3BF0-4BD7-8BF0-603F964F97AE}"/>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5" name="Line 228">
                <a:extLst>
                  <a:ext uri="{FF2B5EF4-FFF2-40B4-BE49-F238E27FC236}">
                    <a16:creationId xmlns:a16="http://schemas.microsoft.com/office/drawing/2014/main" id="{362EB1E9-737F-4864-8E7A-4AC945B15810}"/>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6" name="Line 146">
                <a:extLst>
                  <a:ext uri="{FF2B5EF4-FFF2-40B4-BE49-F238E27FC236}">
                    <a16:creationId xmlns:a16="http://schemas.microsoft.com/office/drawing/2014/main" id="{1341364D-4A6D-461B-831A-A984AFAC1A4B}"/>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7" name="Line 204">
                <a:extLst>
                  <a:ext uri="{FF2B5EF4-FFF2-40B4-BE49-F238E27FC236}">
                    <a16:creationId xmlns:a16="http://schemas.microsoft.com/office/drawing/2014/main" id="{6F567D66-D037-4D88-B0A8-F5698B9FE84C}"/>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58" name="Group 157">
              <a:extLst>
                <a:ext uri="{FF2B5EF4-FFF2-40B4-BE49-F238E27FC236}">
                  <a16:creationId xmlns:a16="http://schemas.microsoft.com/office/drawing/2014/main" id="{454DB86F-657A-413C-8E89-98C497BB821D}"/>
                </a:ext>
              </a:extLst>
            </p:cNvPr>
            <p:cNvGrpSpPr/>
            <p:nvPr userDrawn="1"/>
          </p:nvGrpSpPr>
          <p:grpSpPr bwMode="gray">
            <a:xfrm>
              <a:off x="12276481" y="0"/>
              <a:ext cx="240289" cy="6858000"/>
              <a:chOff x="-319714" y="0"/>
              <a:chExt cx="240289" cy="6858000"/>
            </a:xfrm>
          </p:grpSpPr>
          <p:sp>
            <p:nvSpPr>
              <p:cNvPr id="159" name="Line 230">
                <a:extLst>
                  <a:ext uri="{FF2B5EF4-FFF2-40B4-BE49-F238E27FC236}">
                    <a16:creationId xmlns:a16="http://schemas.microsoft.com/office/drawing/2014/main" id="{B9639FEC-EB93-4009-AE55-161DD0E176DB}"/>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0" name="Line 232">
                <a:extLst>
                  <a:ext uri="{FF2B5EF4-FFF2-40B4-BE49-F238E27FC236}">
                    <a16:creationId xmlns:a16="http://schemas.microsoft.com/office/drawing/2014/main" id="{5AB18DB6-F91D-4686-A598-1AA26E6B340C}"/>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1" name="Line 234">
                <a:extLst>
                  <a:ext uri="{FF2B5EF4-FFF2-40B4-BE49-F238E27FC236}">
                    <a16:creationId xmlns:a16="http://schemas.microsoft.com/office/drawing/2014/main" id="{637DA586-E408-4659-B5C2-BDA3CD046325}"/>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62" name="Line 236">
                <a:extLst>
                  <a:ext uri="{FF2B5EF4-FFF2-40B4-BE49-F238E27FC236}">
                    <a16:creationId xmlns:a16="http://schemas.microsoft.com/office/drawing/2014/main" id="{F71F0802-70D7-440C-B8DA-A79554D9972A}"/>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3" name="Line 238">
                <a:extLst>
                  <a:ext uri="{FF2B5EF4-FFF2-40B4-BE49-F238E27FC236}">
                    <a16:creationId xmlns:a16="http://schemas.microsoft.com/office/drawing/2014/main" id="{CC2DC9F7-791A-48CC-A418-86E77C963D3C}"/>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4" name="Line 240">
                <a:extLst>
                  <a:ext uri="{FF2B5EF4-FFF2-40B4-BE49-F238E27FC236}">
                    <a16:creationId xmlns:a16="http://schemas.microsoft.com/office/drawing/2014/main" id="{60D2E34F-0FC3-4FA8-B887-F6DAE07D57FE}"/>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5" name="Line 244">
                <a:extLst>
                  <a:ext uri="{FF2B5EF4-FFF2-40B4-BE49-F238E27FC236}">
                    <a16:creationId xmlns:a16="http://schemas.microsoft.com/office/drawing/2014/main" id="{54681161-A75E-4547-83CF-A1018A57E00E}"/>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6" name="Line 246">
                <a:extLst>
                  <a:ext uri="{FF2B5EF4-FFF2-40B4-BE49-F238E27FC236}">
                    <a16:creationId xmlns:a16="http://schemas.microsoft.com/office/drawing/2014/main" id="{336812D1-81FD-4FE8-96A2-19D098126DB0}"/>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7" name="Line 250">
                <a:extLst>
                  <a:ext uri="{FF2B5EF4-FFF2-40B4-BE49-F238E27FC236}">
                    <a16:creationId xmlns:a16="http://schemas.microsoft.com/office/drawing/2014/main" id="{D6C48AF6-1918-48CC-A33E-851B07D225D9}"/>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8" name="Line 252">
                <a:extLst>
                  <a:ext uri="{FF2B5EF4-FFF2-40B4-BE49-F238E27FC236}">
                    <a16:creationId xmlns:a16="http://schemas.microsoft.com/office/drawing/2014/main" id="{805DE77E-E34C-4808-871B-A085848234DF}"/>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9" name="Line 254">
                <a:extLst>
                  <a:ext uri="{FF2B5EF4-FFF2-40B4-BE49-F238E27FC236}">
                    <a16:creationId xmlns:a16="http://schemas.microsoft.com/office/drawing/2014/main" id="{E7E258FA-076E-42F7-BF18-9089B3CFED57}"/>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0" name="Line 256">
                <a:extLst>
                  <a:ext uri="{FF2B5EF4-FFF2-40B4-BE49-F238E27FC236}">
                    <a16:creationId xmlns:a16="http://schemas.microsoft.com/office/drawing/2014/main" id="{92CC6EDB-244B-4D2F-84BC-1E320164514B}"/>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1" name="Line 258">
                <a:extLst>
                  <a:ext uri="{FF2B5EF4-FFF2-40B4-BE49-F238E27FC236}">
                    <a16:creationId xmlns:a16="http://schemas.microsoft.com/office/drawing/2014/main" id="{0AE1BEB8-D645-4DC8-94AC-03652222953F}"/>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2" name="Line 260">
                <a:extLst>
                  <a:ext uri="{FF2B5EF4-FFF2-40B4-BE49-F238E27FC236}">
                    <a16:creationId xmlns:a16="http://schemas.microsoft.com/office/drawing/2014/main" id="{092B9DD0-C5E1-4553-9DAB-F3F4062887A8}"/>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3" name="Line 262">
                <a:extLst>
                  <a:ext uri="{FF2B5EF4-FFF2-40B4-BE49-F238E27FC236}">
                    <a16:creationId xmlns:a16="http://schemas.microsoft.com/office/drawing/2014/main" id="{3CBF53EE-12C7-4F79-99FC-A57A058A6E43}"/>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4" name="Line 264">
                <a:extLst>
                  <a:ext uri="{FF2B5EF4-FFF2-40B4-BE49-F238E27FC236}">
                    <a16:creationId xmlns:a16="http://schemas.microsoft.com/office/drawing/2014/main" id="{C6D2D39F-A1A2-4BBF-B347-2B77F3965565}"/>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5" name="Line 266">
                <a:extLst>
                  <a:ext uri="{FF2B5EF4-FFF2-40B4-BE49-F238E27FC236}">
                    <a16:creationId xmlns:a16="http://schemas.microsoft.com/office/drawing/2014/main" id="{4C9A0A8E-EAC5-445F-A360-AFC42BC9F005}"/>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6" name="Line 268">
                <a:extLst>
                  <a:ext uri="{FF2B5EF4-FFF2-40B4-BE49-F238E27FC236}">
                    <a16:creationId xmlns:a16="http://schemas.microsoft.com/office/drawing/2014/main" id="{10ABC5CD-0726-4F92-A750-D1172EF0C013}"/>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7" name="Line 270">
                <a:extLst>
                  <a:ext uri="{FF2B5EF4-FFF2-40B4-BE49-F238E27FC236}">
                    <a16:creationId xmlns:a16="http://schemas.microsoft.com/office/drawing/2014/main" id="{5E226138-88FD-4031-9D7C-31FCE5732304}"/>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8" name="Line 272">
                <a:extLst>
                  <a:ext uri="{FF2B5EF4-FFF2-40B4-BE49-F238E27FC236}">
                    <a16:creationId xmlns:a16="http://schemas.microsoft.com/office/drawing/2014/main" id="{FB3BDE45-D9EF-42C7-A0EF-57A74467C01E}"/>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9" name="Line 274">
                <a:extLst>
                  <a:ext uri="{FF2B5EF4-FFF2-40B4-BE49-F238E27FC236}">
                    <a16:creationId xmlns:a16="http://schemas.microsoft.com/office/drawing/2014/main" id="{79494BC6-75B4-4DE4-A078-2D74D9AF2107}"/>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0" name="Line 276">
                <a:extLst>
                  <a:ext uri="{FF2B5EF4-FFF2-40B4-BE49-F238E27FC236}">
                    <a16:creationId xmlns:a16="http://schemas.microsoft.com/office/drawing/2014/main" id="{64DB71FF-FC94-47D0-AEFE-ED3D1372CB5A}"/>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1" name="Line 278">
                <a:extLst>
                  <a:ext uri="{FF2B5EF4-FFF2-40B4-BE49-F238E27FC236}">
                    <a16:creationId xmlns:a16="http://schemas.microsoft.com/office/drawing/2014/main" id="{7D6BA90A-5C65-4A40-9ED5-BDB331BFD562}"/>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2" name="Line 256">
                <a:extLst>
                  <a:ext uri="{FF2B5EF4-FFF2-40B4-BE49-F238E27FC236}">
                    <a16:creationId xmlns:a16="http://schemas.microsoft.com/office/drawing/2014/main" id="{A671E770-59FC-41B3-9821-E7B0D550BD68}"/>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3" name="Line 234">
                <a:extLst>
                  <a:ext uri="{FF2B5EF4-FFF2-40B4-BE49-F238E27FC236}">
                    <a16:creationId xmlns:a16="http://schemas.microsoft.com/office/drawing/2014/main" id="{2D5A73D5-53A3-4AA7-AF08-74E332A144D6}"/>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300" name="Media Placeholder 299">
            <a:extLst>
              <a:ext uri="{FF2B5EF4-FFF2-40B4-BE49-F238E27FC236}">
                <a16:creationId xmlns:a16="http://schemas.microsoft.com/office/drawing/2014/main" id="{7FDE74E8-30EC-4E89-8BC9-6F476A24378D}"/>
              </a:ext>
            </a:extLst>
          </p:cNvPr>
          <p:cNvSpPr>
            <a:spLocks noGrp="1"/>
          </p:cNvSpPr>
          <p:nvPr>
            <p:ph type="media" sz="quarter" idx="15" hasCustomPrompt="1"/>
          </p:nvPr>
        </p:nvSpPr>
        <p:spPr bwMode="gray">
          <a:xfrm>
            <a:off x="-601" y="3"/>
            <a:ext cx="12193200" cy="6857995"/>
          </a:xfrm>
          <a:prstGeom prst="rect">
            <a:avLst/>
          </a:prstGeom>
          <a:solidFill>
            <a:srgbClr val="CCCCCC"/>
          </a:solidFill>
        </p:spPr>
        <p:txBody>
          <a:bodyPr wrap="square" bIns="1116000" anchor="ctr" anchorCtr="0">
            <a:noAutofit/>
          </a:bodyPr>
          <a:lstStyle>
            <a:lvl1pPr marL="0" indent="0" algn="ctr">
              <a:spcAft>
                <a:spcPts val="0"/>
              </a:spcAft>
              <a:buNone/>
              <a:defRPr/>
            </a:lvl1pPr>
          </a:lstStyle>
          <a:p>
            <a:r>
              <a:rPr lang="nl-NL" dirty="0"/>
              <a:t>Klik om video toe te voegen.</a:t>
            </a:r>
            <a:br>
              <a:rPr lang="nl-NL" dirty="0"/>
            </a:br>
            <a:endParaRPr lang="nl-NL" dirty="0"/>
          </a:p>
        </p:txBody>
      </p:sp>
      <p:sp>
        <p:nvSpPr>
          <p:cNvPr id="3" name="Footer Placeholder 2">
            <a:extLst>
              <a:ext uri="{FF2B5EF4-FFF2-40B4-BE49-F238E27FC236}">
                <a16:creationId xmlns:a16="http://schemas.microsoft.com/office/drawing/2014/main" id="{3963BEBF-1754-4815-A72A-69D6E753D8E6}"/>
              </a:ext>
            </a:extLst>
          </p:cNvPr>
          <p:cNvSpPr>
            <a:spLocks noGrp="1"/>
          </p:cNvSpPr>
          <p:nvPr>
            <p:ph type="ftr" sz="quarter" idx="10"/>
          </p:nvPr>
        </p:nvSpPr>
        <p:spPr/>
        <p:txBody>
          <a:bodyPr/>
          <a:lstStyle/>
          <a:p>
            <a:r>
              <a:rPr lang="nl-NL"/>
              <a:t>Behoefte functionele migratie SMZ</a:t>
            </a:r>
            <a:endParaRPr lang="en-GB" dirty="0"/>
          </a:p>
        </p:txBody>
      </p:sp>
      <p:sp>
        <p:nvSpPr>
          <p:cNvPr id="4" name="Slide Number Placeholder 3">
            <a:extLst>
              <a:ext uri="{FF2B5EF4-FFF2-40B4-BE49-F238E27FC236}">
                <a16:creationId xmlns:a16="http://schemas.microsoft.com/office/drawing/2014/main" id="{2898FA40-BDCD-4BEE-B3BA-079CFC0E1A69}"/>
              </a:ext>
            </a:extLst>
          </p:cNvPr>
          <p:cNvSpPr>
            <a:spLocks noGrp="1"/>
          </p:cNvSpPr>
          <p:nvPr>
            <p:ph type="sldNum" sz="quarter" idx="11"/>
          </p:nvPr>
        </p:nvSpPr>
        <p:spPr/>
        <p:txBody>
          <a:bodyPr/>
          <a:lstStyle/>
          <a:p>
            <a:fld id="{EEC0F82C-4994-47DA-8D9B-99D78D224F6D}" type="slidenum">
              <a:rPr lang="en-GB" smtClean="0"/>
              <a:pPr/>
              <a:t>‹nr.›</a:t>
            </a:fld>
            <a:endParaRPr lang="en-GB" dirty="0"/>
          </a:p>
        </p:txBody>
      </p:sp>
      <p:sp>
        <p:nvSpPr>
          <p:cNvPr id="151" name="Content Placeholder 1">
            <a:extLst>
              <a:ext uri="{FF2B5EF4-FFF2-40B4-BE49-F238E27FC236}">
                <a16:creationId xmlns:a16="http://schemas.microsoft.com/office/drawing/2014/main" id="{06F55918-1544-416A-91A4-5170D2C9E930}"/>
              </a:ext>
            </a:extLst>
          </p:cNvPr>
          <p:cNvSpPr txBox="1">
            <a:spLocks/>
          </p:cNvSpPr>
          <p:nvPr userDrawn="1"/>
        </p:nvSpPr>
        <p:spPr bwMode="gray">
          <a:xfrm>
            <a:off x="-3164400" y="0"/>
            <a:ext cx="2804400" cy="3244850"/>
          </a:xfrm>
          <a:prstGeom prst="rect">
            <a:avLst/>
          </a:prstGeom>
        </p:spPr>
        <p:txBody>
          <a:bodyPr lIns="0" tIns="0" rIns="0" bIns="0"/>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gn="l">
              <a:spcBef>
                <a:spcPts val="0"/>
              </a:spcBef>
            </a:pPr>
            <a:r>
              <a:rPr lang="nl-NL" sz="1100" b="1">
                <a:solidFill>
                  <a:schemeClr val="tx1"/>
                </a:solidFill>
              </a:rPr>
              <a:t>Gebruik van video</a:t>
            </a:r>
          </a:p>
          <a:p>
            <a:pPr algn="l">
              <a:spcBef>
                <a:spcPts val="0"/>
              </a:spcBef>
            </a:pPr>
            <a:endParaRPr lang="nl-NL" sz="1100" b="1">
              <a:solidFill>
                <a:schemeClr val="tx1"/>
              </a:solidFill>
            </a:endParaRPr>
          </a:p>
          <a:p>
            <a:pPr marL="171450" indent="-171450" algn="l">
              <a:spcBef>
                <a:spcPts val="0"/>
              </a:spcBef>
              <a:buFont typeface="Arial" panose="020B0604020202020204" pitchFamily="34" charset="0"/>
              <a:buChar char="•"/>
            </a:pPr>
            <a:r>
              <a:rPr lang="nl-NL" sz="1100" b="0">
                <a:solidFill>
                  <a:schemeClr val="tx1"/>
                </a:solidFill>
              </a:rPr>
              <a:t>Klik op het grijze afbeeldingsveld</a:t>
            </a:r>
          </a:p>
          <a:p>
            <a:pPr marL="171450" indent="-171450" algn="l">
              <a:spcBef>
                <a:spcPts val="0"/>
              </a:spcBef>
              <a:buFont typeface="Arial" panose="020B0604020202020204" pitchFamily="34" charset="0"/>
              <a:buChar char="•"/>
            </a:pPr>
            <a:r>
              <a:rPr lang="nl-NL" sz="1100" b="0">
                <a:solidFill>
                  <a:schemeClr val="tx1"/>
                </a:solidFill>
              </a:rPr>
              <a:t>Ga nu naar </a:t>
            </a:r>
            <a:r>
              <a:rPr lang="nl-NL" sz="1100" b="1">
                <a:solidFill>
                  <a:schemeClr val="tx1"/>
                </a:solidFill>
              </a:rPr>
              <a:t>‘Invoegen’ </a:t>
            </a:r>
            <a:r>
              <a:rPr lang="nl-NL" sz="1100" b="0">
                <a:solidFill>
                  <a:schemeClr val="tx1"/>
                </a:solidFill>
              </a:rPr>
              <a:t>en kies </a:t>
            </a:r>
            <a:r>
              <a:rPr lang="nl-NL" sz="1100" b="1">
                <a:solidFill>
                  <a:schemeClr val="tx1"/>
                </a:solidFill>
              </a:rPr>
              <a:t>‘Video’</a:t>
            </a:r>
            <a:r>
              <a:rPr lang="nl-NL" sz="1100" b="0">
                <a:solidFill>
                  <a:schemeClr val="tx1"/>
                </a:solidFill>
              </a:rPr>
              <a:t>. </a:t>
            </a:r>
          </a:p>
          <a:p>
            <a:pPr marL="171450" indent="-171450" algn="l">
              <a:spcBef>
                <a:spcPts val="0"/>
              </a:spcBef>
              <a:buFont typeface="Arial" panose="020B0604020202020204" pitchFamily="34" charset="0"/>
              <a:buChar char="•"/>
            </a:pPr>
            <a:r>
              <a:rPr lang="nl-NL" sz="1100" b="0">
                <a:solidFill>
                  <a:schemeClr val="tx1"/>
                </a:solidFill>
              </a:rPr>
              <a:t>Kies een video, klik op </a:t>
            </a:r>
            <a:r>
              <a:rPr lang="nl-NL" sz="1100" b="1">
                <a:solidFill>
                  <a:schemeClr val="tx1"/>
                </a:solidFill>
              </a:rPr>
              <a:t>‘Invoegen’ </a:t>
            </a:r>
            <a:r>
              <a:rPr lang="nl-NL" sz="1100" b="0">
                <a:solidFill>
                  <a:schemeClr val="tx1"/>
                </a:solidFill>
              </a:rPr>
              <a:t>en de video wordt geplaatst.</a:t>
            </a:r>
          </a:p>
          <a:p>
            <a:pPr marL="171450" indent="-171450" algn="l">
              <a:spcBef>
                <a:spcPts val="0"/>
              </a:spcBef>
              <a:buFont typeface="Arial" panose="020B0604020202020204" pitchFamily="34" charset="0"/>
              <a:buChar cha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r>
              <a:rPr lang="nl-NL" sz="1100" b="0">
                <a:solidFill>
                  <a:schemeClr val="tx1"/>
                </a:solidFill>
              </a:rPr>
              <a:t>Video’s kun je kiezen uit de</a:t>
            </a:r>
            <a:r>
              <a:rPr lang="nl-NL" sz="1100" b="0" baseline="0">
                <a:solidFill>
                  <a:schemeClr val="tx1"/>
                </a:solidFill>
              </a:rPr>
              <a:t> </a:t>
            </a:r>
            <a:r>
              <a:rPr lang="nl-NL" sz="1100" b="1" baseline="0">
                <a:solidFill>
                  <a:schemeClr val="tx1"/>
                </a:solidFill>
              </a:rPr>
              <a:t>Mediabank in het UWV Communicatieportaal</a:t>
            </a:r>
            <a:r>
              <a:rPr lang="nl-NL" sz="1100" b="0" baseline="0">
                <a:solidFill>
                  <a:schemeClr val="tx1"/>
                </a:solidFill>
              </a:rPr>
              <a:t>. Deze video’s zijn van hoge kwaliteit en hiervan is het intellectueel eigendom geregeld. </a:t>
            </a:r>
            <a:br>
              <a:rPr lang="nl-NL" sz="1100" b="0" baseline="0">
                <a:solidFill>
                  <a:schemeClr val="tx1"/>
                </a:solidFill>
              </a:rPr>
            </a:br>
            <a:br>
              <a:rPr lang="nl-NL" sz="1100" b="0" baseline="0">
                <a:solidFill>
                  <a:schemeClr val="tx1"/>
                </a:solidFill>
              </a:rPr>
            </a:br>
            <a:r>
              <a:rPr lang="nl-NL" sz="1100" b="0" baseline="0">
                <a:solidFill>
                  <a:schemeClr val="tx1"/>
                </a:solidFill>
                <a:hlinkClick r:id="rId3"/>
              </a:rPr>
              <a:t>https://communicatieportaal.uwv.nl/modules/product/mediabank/default/?ItemId=3237</a:t>
            </a:r>
            <a:endParaRPr lang="nl-NL" sz="1100" b="0" baseline="0">
              <a:solidFill>
                <a:schemeClr val="tx1"/>
              </a:solidFill>
            </a:endParaRPr>
          </a:p>
        </p:txBody>
      </p:sp>
    </p:spTree>
    <p:extLst>
      <p:ext uri="{BB962C8B-B14F-4D97-AF65-F5344CB8AC3E}">
        <p14:creationId xmlns:p14="http://schemas.microsoft.com/office/powerpoint/2010/main" val="36359166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co met titel">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1608E19-7CBA-42C6-80A6-CAC2A11CCD06}"/>
              </a:ext>
            </a:extLst>
          </p:cNvPr>
          <p:cNvSpPr>
            <a:spLocks noGrp="1"/>
          </p:cNvSpPr>
          <p:nvPr>
            <p:ph type="ftr" sz="quarter" idx="10"/>
          </p:nvPr>
        </p:nvSpPr>
        <p:spPr bwMode="gray"/>
        <p:txBody>
          <a:bodyPr/>
          <a:lstStyle/>
          <a:p>
            <a:r>
              <a:rPr lang="nl-NL"/>
              <a:t>Behoefte functionele migratie SMZ</a:t>
            </a:r>
            <a:endParaRPr lang="en-GB" dirty="0"/>
          </a:p>
        </p:txBody>
      </p:sp>
      <p:sp>
        <p:nvSpPr>
          <p:cNvPr id="5" name="Slide Number Placeholder 4">
            <a:extLst>
              <a:ext uri="{FF2B5EF4-FFF2-40B4-BE49-F238E27FC236}">
                <a16:creationId xmlns:a16="http://schemas.microsoft.com/office/drawing/2014/main" id="{EC50A39B-4CD9-4B5A-A85D-0F3C1A3B0204}"/>
              </a:ext>
            </a:extLst>
          </p:cNvPr>
          <p:cNvSpPr>
            <a:spLocks noGrp="1"/>
          </p:cNvSpPr>
          <p:nvPr>
            <p:ph type="sldNum" sz="quarter" idx="11"/>
          </p:nvPr>
        </p:nvSpPr>
        <p:spPr bwMode="gray"/>
        <p:txBody>
          <a:bodyPr/>
          <a:lstStyle/>
          <a:p>
            <a:fld id="{EEC0F82C-4994-47DA-8D9B-99D78D224F6D}" type="slidenum">
              <a:rPr lang="en-GB" smtClean="0"/>
              <a:pPr/>
              <a:t>‹nr.›</a:t>
            </a:fld>
            <a:endParaRPr lang="en-GB" dirty="0"/>
          </a:p>
        </p:txBody>
      </p:sp>
      <p:sp>
        <p:nvSpPr>
          <p:cNvPr id="3" name="Title 2">
            <a:extLst>
              <a:ext uri="{FF2B5EF4-FFF2-40B4-BE49-F238E27FC236}">
                <a16:creationId xmlns:a16="http://schemas.microsoft.com/office/drawing/2014/main" id="{81240A11-7067-4B02-96AF-D49393127117}"/>
              </a:ext>
            </a:extLst>
          </p:cNvPr>
          <p:cNvSpPr>
            <a:spLocks noGrp="1"/>
          </p:cNvSpPr>
          <p:nvPr>
            <p:ph type="title" hasCustomPrompt="1"/>
          </p:nvPr>
        </p:nvSpPr>
        <p:spPr bwMode="gray"/>
        <p:txBody>
          <a:bodyPr/>
          <a:lstStyle>
            <a:lvl1pPr>
              <a:defRPr/>
            </a:lvl1pPr>
          </a:lstStyle>
          <a:p>
            <a:r>
              <a:rPr lang="nl-NL" dirty="0"/>
              <a:t>Klik om de titel aan te passen</a:t>
            </a:r>
          </a:p>
        </p:txBody>
      </p:sp>
    </p:spTree>
    <p:extLst>
      <p:ext uri="{BB962C8B-B14F-4D97-AF65-F5344CB8AC3E}">
        <p14:creationId xmlns:p14="http://schemas.microsoft.com/office/powerpoint/2010/main" val="7815691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co zonder titel">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5DDD632-AF9C-4BDD-8BDA-517C110600F1}"/>
              </a:ext>
            </a:extLst>
          </p:cNvPr>
          <p:cNvSpPr>
            <a:spLocks noGrp="1"/>
          </p:cNvSpPr>
          <p:nvPr>
            <p:ph type="ftr" sz="quarter" idx="10"/>
          </p:nvPr>
        </p:nvSpPr>
        <p:spPr bwMode="gray"/>
        <p:txBody>
          <a:bodyPr/>
          <a:lstStyle/>
          <a:p>
            <a:r>
              <a:rPr lang="nl-NL"/>
              <a:t>Behoefte functionele migratie SMZ</a:t>
            </a:r>
            <a:endParaRPr lang="en-GB" dirty="0"/>
          </a:p>
        </p:txBody>
      </p:sp>
      <p:sp>
        <p:nvSpPr>
          <p:cNvPr id="3" name="Slide Number Placeholder 2">
            <a:extLst>
              <a:ext uri="{FF2B5EF4-FFF2-40B4-BE49-F238E27FC236}">
                <a16:creationId xmlns:a16="http://schemas.microsoft.com/office/drawing/2014/main" id="{E933E3FC-2C0C-44B5-AFCD-6FA4E9BABD13}"/>
              </a:ext>
            </a:extLst>
          </p:cNvPr>
          <p:cNvSpPr>
            <a:spLocks noGrp="1"/>
          </p:cNvSpPr>
          <p:nvPr>
            <p:ph type="sldNum" sz="quarter" idx="11"/>
          </p:nvPr>
        </p:nvSpPr>
        <p:spPr bwMode="gray"/>
        <p:txBody>
          <a:bodyPr/>
          <a:lstStyle/>
          <a:p>
            <a:fld id="{EEC0F82C-4994-47DA-8D9B-99D78D224F6D}" type="slidenum">
              <a:rPr lang="en-GB" smtClean="0"/>
              <a:pPr/>
              <a:t>‹nr.›</a:t>
            </a:fld>
            <a:endParaRPr lang="en-GB" dirty="0"/>
          </a:p>
        </p:txBody>
      </p:sp>
    </p:spTree>
    <p:extLst>
      <p:ext uri="{BB962C8B-B14F-4D97-AF65-F5344CB8AC3E}">
        <p14:creationId xmlns:p14="http://schemas.microsoft.com/office/powerpoint/2010/main" val="22280261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inddia">
    <p:bg bwMode="gray">
      <p:bgPr>
        <a:solidFill>
          <a:srgbClr val="B9E2FF"/>
        </a:solidFill>
        <a:effectLst/>
      </p:bgPr>
    </p:bg>
    <p:spTree>
      <p:nvGrpSpPr>
        <p:cNvPr id="1" name=""/>
        <p:cNvGrpSpPr/>
        <p:nvPr/>
      </p:nvGrpSpPr>
      <p:grpSpPr>
        <a:xfrm>
          <a:off x="0" y="0"/>
          <a:ext cx="0" cy="0"/>
          <a:chOff x="0" y="0"/>
          <a:chExt cx="0" cy="0"/>
        </a:xfrm>
      </p:grpSpPr>
      <p:sp>
        <p:nvSpPr>
          <p:cNvPr id="157" name="Rectangle 156">
            <a:extLst>
              <a:ext uri="{FF2B5EF4-FFF2-40B4-BE49-F238E27FC236}">
                <a16:creationId xmlns:a16="http://schemas.microsoft.com/office/drawing/2014/main" id="{3E2477D2-B1E6-4440-8785-D6684642105B}"/>
              </a:ext>
            </a:extLst>
          </p:cNvPr>
          <p:cNvSpPr/>
          <p:nvPr userDrawn="1"/>
        </p:nvSpPr>
        <p:spPr bwMode="gray">
          <a:xfrm>
            <a:off x="-3714750" y="-1111250"/>
            <a:ext cx="19621500" cy="87249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62" name="Text Placeholder 3">
            <a:extLst>
              <a:ext uri="{FF2B5EF4-FFF2-40B4-BE49-F238E27FC236}">
                <a16:creationId xmlns:a16="http://schemas.microsoft.com/office/drawing/2014/main" id="{D262078E-D96A-42CF-9815-BBE4CEF0BD20}"/>
              </a:ext>
            </a:extLst>
          </p:cNvPr>
          <p:cNvSpPr txBox="1">
            <a:spLocks noChangeAspect="1"/>
          </p:cNvSpPr>
          <p:nvPr userDrawn="1"/>
        </p:nvSpPr>
        <p:spPr bwMode="gray">
          <a:xfrm>
            <a:off x="10491925" y="6012000"/>
            <a:ext cx="846000" cy="846000"/>
          </a:xfrm>
          <a:prstGeom prst="rect">
            <a:avLst/>
          </a:prstGeom>
          <a:blipFill>
            <a:blip r:embed="rId2"/>
            <a:stretch>
              <a:fillRect/>
            </a:stretch>
          </a:blipFill>
          <a:ln>
            <a:solidFill>
              <a:srgbClr val="0078D2"/>
            </a:solidFill>
          </a:ln>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
        <p:nvSpPr>
          <p:cNvPr id="161" name="Picture Placeholder 160">
            <a:extLst>
              <a:ext uri="{FF2B5EF4-FFF2-40B4-BE49-F238E27FC236}">
                <a16:creationId xmlns:a16="http://schemas.microsoft.com/office/drawing/2014/main" id="{BD1AB6B9-91A1-431B-A8C4-FC679CAA64EB}"/>
              </a:ext>
            </a:extLst>
          </p:cNvPr>
          <p:cNvSpPr>
            <a:spLocks noGrp="1"/>
          </p:cNvSpPr>
          <p:nvPr>
            <p:ph type="pic" sz="quarter" idx="14" hasCustomPrompt="1"/>
          </p:nvPr>
        </p:nvSpPr>
        <p:spPr bwMode="gray">
          <a:xfrm>
            <a:off x="-600" y="3"/>
            <a:ext cx="12193200" cy="6857995"/>
          </a:xfrm>
          <a:custGeom>
            <a:avLst/>
            <a:gdLst>
              <a:gd name="connsiteX0" fmla="*/ 0 w 12193200"/>
              <a:gd name="connsiteY0" fmla="*/ 0 h 6857995"/>
              <a:gd name="connsiteX1" fmla="*/ 12193200 w 12193200"/>
              <a:gd name="connsiteY1" fmla="*/ 0 h 6857995"/>
              <a:gd name="connsiteX2" fmla="*/ 12193200 w 12193200"/>
              <a:gd name="connsiteY2" fmla="*/ 6857995 h 6857995"/>
              <a:gd name="connsiteX3" fmla="*/ 11338525 w 12193200"/>
              <a:gd name="connsiteY3" fmla="*/ 6857995 h 6857995"/>
              <a:gd name="connsiteX4" fmla="*/ 11338525 w 12193200"/>
              <a:gd name="connsiteY4" fmla="*/ 6011996 h 6857995"/>
              <a:gd name="connsiteX5" fmla="*/ 10492525 w 12193200"/>
              <a:gd name="connsiteY5" fmla="*/ 6011996 h 6857995"/>
              <a:gd name="connsiteX6" fmla="*/ 10492525 w 12193200"/>
              <a:gd name="connsiteY6" fmla="*/ 6857995 h 6857995"/>
              <a:gd name="connsiteX7" fmla="*/ 0 w 12193200"/>
              <a:gd name="connsiteY7" fmla="*/ 6857995 h 685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7995">
                <a:moveTo>
                  <a:pt x="0" y="0"/>
                </a:moveTo>
                <a:lnTo>
                  <a:pt x="12193200" y="0"/>
                </a:lnTo>
                <a:lnTo>
                  <a:pt x="12193200" y="6857995"/>
                </a:lnTo>
                <a:lnTo>
                  <a:pt x="11338525" y="6857995"/>
                </a:lnTo>
                <a:lnTo>
                  <a:pt x="11338525" y="6011996"/>
                </a:lnTo>
                <a:lnTo>
                  <a:pt x="10492525" y="6011996"/>
                </a:lnTo>
                <a:lnTo>
                  <a:pt x="10492525" y="6857995"/>
                </a:lnTo>
                <a:lnTo>
                  <a:pt x="0" y="6857995"/>
                </a:lnTo>
                <a:close/>
              </a:path>
            </a:pathLst>
          </a:custGeom>
          <a:solidFill>
            <a:srgbClr val="CCCCCC"/>
          </a:solidFill>
        </p:spPr>
        <p:txBody>
          <a:bodyPr wrap="square" lIns="0" tIns="0" rIns="0" bIns="0" anchor="ctr" anchorCtr="0">
            <a:noAutofit/>
          </a:bodyPr>
          <a:lstStyle>
            <a:lvl1pPr marL="0" indent="0" algn="ctr">
              <a:spcAft>
                <a:spcPts val="0"/>
              </a:spcAft>
              <a:buNone/>
              <a:defRPr/>
            </a:lvl1pPr>
          </a:lstStyle>
          <a:p>
            <a:r>
              <a:rPr lang="nl-NL" dirty="0"/>
              <a:t>Klik om foto toe te voegen</a:t>
            </a:r>
          </a:p>
          <a:p>
            <a:endParaRPr lang="nl-NL" dirty="0"/>
          </a:p>
          <a:p>
            <a:endParaRPr lang="nl-NL" dirty="0"/>
          </a:p>
          <a:p>
            <a:endParaRPr lang="nl-NL" dirty="0"/>
          </a:p>
          <a:p>
            <a:endParaRPr lang="nl-NL" dirty="0"/>
          </a:p>
        </p:txBody>
      </p:sp>
      <p:grpSp>
        <p:nvGrpSpPr>
          <p:cNvPr id="7" name="Group 6">
            <a:extLst>
              <a:ext uri="{FF2B5EF4-FFF2-40B4-BE49-F238E27FC236}">
                <a16:creationId xmlns:a16="http://schemas.microsoft.com/office/drawing/2014/main" id="{85914C4B-E0A6-4EE0-A7D6-ECC5B3BA99B2}"/>
              </a:ext>
            </a:extLst>
          </p:cNvPr>
          <p:cNvGrpSpPr/>
          <p:nvPr userDrawn="1"/>
        </p:nvGrpSpPr>
        <p:grpSpPr bwMode="gray">
          <a:xfrm>
            <a:off x="-329239" y="-319423"/>
            <a:ext cx="12846009" cy="7500113"/>
            <a:chOff x="-329239" y="-319423"/>
            <a:chExt cx="12846009" cy="7500113"/>
          </a:xfrm>
        </p:grpSpPr>
        <p:grpSp>
          <p:nvGrpSpPr>
            <p:cNvPr id="9" name="Group 8">
              <a:extLst>
                <a:ext uri="{FF2B5EF4-FFF2-40B4-BE49-F238E27FC236}">
                  <a16:creationId xmlns:a16="http://schemas.microsoft.com/office/drawing/2014/main" id="{47D58449-2839-40D6-955C-549C72D6BCA8}"/>
                </a:ext>
              </a:extLst>
            </p:cNvPr>
            <p:cNvGrpSpPr/>
            <p:nvPr userDrawn="1"/>
          </p:nvGrpSpPr>
          <p:grpSpPr bwMode="gray">
            <a:xfrm>
              <a:off x="-329239" y="0"/>
              <a:ext cx="240289" cy="6858000"/>
              <a:chOff x="-319714" y="0"/>
              <a:chExt cx="240289" cy="6858000"/>
            </a:xfrm>
          </p:grpSpPr>
          <p:sp>
            <p:nvSpPr>
              <p:cNvPr id="129" name="Line 230">
                <a:extLst>
                  <a:ext uri="{FF2B5EF4-FFF2-40B4-BE49-F238E27FC236}">
                    <a16:creationId xmlns:a16="http://schemas.microsoft.com/office/drawing/2014/main" id="{AE5576FB-D1BE-49E6-868E-8EC223D6ED0C}"/>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0" name="Line 232">
                <a:extLst>
                  <a:ext uri="{FF2B5EF4-FFF2-40B4-BE49-F238E27FC236}">
                    <a16:creationId xmlns:a16="http://schemas.microsoft.com/office/drawing/2014/main" id="{FE3EAD4D-826C-4006-AC5A-E125C3A1CB87}"/>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1" name="Line 234">
                <a:extLst>
                  <a:ext uri="{FF2B5EF4-FFF2-40B4-BE49-F238E27FC236}">
                    <a16:creationId xmlns:a16="http://schemas.microsoft.com/office/drawing/2014/main" id="{28625666-CB19-499F-B13A-09005513CB16}"/>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32" name="Line 236">
                <a:extLst>
                  <a:ext uri="{FF2B5EF4-FFF2-40B4-BE49-F238E27FC236}">
                    <a16:creationId xmlns:a16="http://schemas.microsoft.com/office/drawing/2014/main" id="{197CEF34-A944-478A-A6CC-65669E81AC32}"/>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3" name="Line 238">
                <a:extLst>
                  <a:ext uri="{FF2B5EF4-FFF2-40B4-BE49-F238E27FC236}">
                    <a16:creationId xmlns:a16="http://schemas.microsoft.com/office/drawing/2014/main" id="{B46655B1-0AE1-4887-BA9D-14C55F812293}"/>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4" name="Line 240">
                <a:extLst>
                  <a:ext uri="{FF2B5EF4-FFF2-40B4-BE49-F238E27FC236}">
                    <a16:creationId xmlns:a16="http://schemas.microsoft.com/office/drawing/2014/main" id="{A806C1DC-256D-4A99-BB60-7816CEED2E87}"/>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5" name="Line 244">
                <a:extLst>
                  <a:ext uri="{FF2B5EF4-FFF2-40B4-BE49-F238E27FC236}">
                    <a16:creationId xmlns:a16="http://schemas.microsoft.com/office/drawing/2014/main" id="{D2DB13C9-023B-4FD0-9C4B-8ABC02E82EEB}"/>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6" name="Line 246">
                <a:extLst>
                  <a:ext uri="{FF2B5EF4-FFF2-40B4-BE49-F238E27FC236}">
                    <a16:creationId xmlns:a16="http://schemas.microsoft.com/office/drawing/2014/main" id="{AFF5D07F-FE78-4836-BA13-2533F4CCF02B}"/>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7" name="Line 250">
                <a:extLst>
                  <a:ext uri="{FF2B5EF4-FFF2-40B4-BE49-F238E27FC236}">
                    <a16:creationId xmlns:a16="http://schemas.microsoft.com/office/drawing/2014/main" id="{8EDA2530-D890-4C64-9513-54C196B180E2}"/>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8" name="Line 252">
                <a:extLst>
                  <a:ext uri="{FF2B5EF4-FFF2-40B4-BE49-F238E27FC236}">
                    <a16:creationId xmlns:a16="http://schemas.microsoft.com/office/drawing/2014/main" id="{94E5F15F-DB46-4F78-89F3-5A168C916EB3}"/>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9" name="Line 254">
                <a:extLst>
                  <a:ext uri="{FF2B5EF4-FFF2-40B4-BE49-F238E27FC236}">
                    <a16:creationId xmlns:a16="http://schemas.microsoft.com/office/drawing/2014/main" id="{5D21D3DE-D129-41D8-9D6C-101BF82D40C9}"/>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0" name="Line 256">
                <a:extLst>
                  <a:ext uri="{FF2B5EF4-FFF2-40B4-BE49-F238E27FC236}">
                    <a16:creationId xmlns:a16="http://schemas.microsoft.com/office/drawing/2014/main" id="{97337FD8-73ED-43F4-BC4A-C1E8099AC67C}"/>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1" name="Line 258">
                <a:extLst>
                  <a:ext uri="{FF2B5EF4-FFF2-40B4-BE49-F238E27FC236}">
                    <a16:creationId xmlns:a16="http://schemas.microsoft.com/office/drawing/2014/main" id="{0ECAD888-281C-4F00-947B-DCA668506168}"/>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2" name="Line 260">
                <a:extLst>
                  <a:ext uri="{FF2B5EF4-FFF2-40B4-BE49-F238E27FC236}">
                    <a16:creationId xmlns:a16="http://schemas.microsoft.com/office/drawing/2014/main" id="{85E8A87E-62B6-4A0F-BECA-6AD71F5AA9DA}"/>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3" name="Line 262">
                <a:extLst>
                  <a:ext uri="{FF2B5EF4-FFF2-40B4-BE49-F238E27FC236}">
                    <a16:creationId xmlns:a16="http://schemas.microsoft.com/office/drawing/2014/main" id="{46BEC6E1-B903-4F92-8732-B0EF4D92895A}"/>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4" name="Line 264">
                <a:extLst>
                  <a:ext uri="{FF2B5EF4-FFF2-40B4-BE49-F238E27FC236}">
                    <a16:creationId xmlns:a16="http://schemas.microsoft.com/office/drawing/2014/main" id="{B10D3487-A264-4CD6-BE29-25349A7C801C}"/>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5" name="Line 266">
                <a:extLst>
                  <a:ext uri="{FF2B5EF4-FFF2-40B4-BE49-F238E27FC236}">
                    <a16:creationId xmlns:a16="http://schemas.microsoft.com/office/drawing/2014/main" id="{36D5CC1C-AC4E-481E-9A75-BF95AFD2AFD2}"/>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6" name="Line 268">
                <a:extLst>
                  <a:ext uri="{FF2B5EF4-FFF2-40B4-BE49-F238E27FC236}">
                    <a16:creationId xmlns:a16="http://schemas.microsoft.com/office/drawing/2014/main" id="{410B6B57-1FC1-4106-BD80-909A679F3329}"/>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7" name="Line 270">
                <a:extLst>
                  <a:ext uri="{FF2B5EF4-FFF2-40B4-BE49-F238E27FC236}">
                    <a16:creationId xmlns:a16="http://schemas.microsoft.com/office/drawing/2014/main" id="{71787649-2192-4748-ADB6-571ABBA6B102}"/>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8" name="Line 272">
                <a:extLst>
                  <a:ext uri="{FF2B5EF4-FFF2-40B4-BE49-F238E27FC236}">
                    <a16:creationId xmlns:a16="http://schemas.microsoft.com/office/drawing/2014/main" id="{2000BED5-3604-4E3A-B335-563CACBF7228}"/>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9" name="Line 274">
                <a:extLst>
                  <a:ext uri="{FF2B5EF4-FFF2-40B4-BE49-F238E27FC236}">
                    <a16:creationId xmlns:a16="http://schemas.microsoft.com/office/drawing/2014/main" id="{B980D131-2A54-4922-841A-CDB7D05DB1FE}"/>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0" name="Line 276">
                <a:extLst>
                  <a:ext uri="{FF2B5EF4-FFF2-40B4-BE49-F238E27FC236}">
                    <a16:creationId xmlns:a16="http://schemas.microsoft.com/office/drawing/2014/main" id="{AACAB1F3-6BC6-4D20-9369-52961FADAF58}"/>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1" name="Line 278">
                <a:extLst>
                  <a:ext uri="{FF2B5EF4-FFF2-40B4-BE49-F238E27FC236}">
                    <a16:creationId xmlns:a16="http://schemas.microsoft.com/office/drawing/2014/main" id="{38572A3E-9A58-4EFF-B781-9B6288E80ACE}"/>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2" name="Line 256">
                <a:extLst>
                  <a:ext uri="{FF2B5EF4-FFF2-40B4-BE49-F238E27FC236}">
                    <a16:creationId xmlns:a16="http://schemas.microsoft.com/office/drawing/2014/main" id="{549612E6-BF2A-49BF-936A-5787618096A7}"/>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3" name="Line 234">
                <a:extLst>
                  <a:ext uri="{FF2B5EF4-FFF2-40B4-BE49-F238E27FC236}">
                    <a16:creationId xmlns:a16="http://schemas.microsoft.com/office/drawing/2014/main" id="{5979E920-3C09-483D-9073-B20A4208BB90}"/>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11" name="Group 10">
              <a:extLst>
                <a:ext uri="{FF2B5EF4-FFF2-40B4-BE49-F238E27FC236}">
                  <a16:creationId xmlns:a16="http://schemas.microsoft.com/office/drawing/2014/main" id="{F750E5D5-6764-4AC5-AA97-C8A10C0C0099}"/>
                </a:ext>
              </a:extLst>
            </p:cNvPr>
            <p:cNvGrpSpPr/>
            <p:nvPr userDrawn="1"/>
          </p:nvGrpSpPr>
          <p:grpSpPr bwMode="gray">
            <a:xfrm>
              <a:off x="0" y="-319423"/>
              <a:ext cx="12192000" cy="232538"/>
              <a:chOff x="0" y="-319423"/>
              <a:chExt cx="12192000" cy="232538"/>
            </a:xfrm>
          </p:grpSpPr>
          <p:sp>
            <p:nvSpPr>
              <p:cNvPr id="85" name="Line 146">
                <a:extLst>
                  <a:ext uri="{FF2B5EF4-FFF2-40B4-BE49-F238E27FC236}">
                    <a16:creationId xmlns:a16="http://schemas.microsoft.com/office/drawing/2014/main" id="{DB33D2C1-AFAA-472B-A827-F1F600B9B30A}"/>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6" name="Line 148">
                <a:extLst>
                  <a:ext uri="{FF2B5EF4-FFF2-40B4-BE49-F238E27FC236}">
                    <a16:creationId xmlns:a16="http://schemas.microsoft.com/office/drawing/2014/main" id="{71A432CD-7034-47B1-8398-4D9EA0D2DC22}"/>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7" name="Line 150">
                <a:extLst>
                  <a:ext uri="{FF2B5EF4-FFF2-40B4-BE49-F238E27FC236}">
                    <a16:creationId xmlns:a16="http://schemas.microsoft.com/office/drawing/2014/main" id="{849CC6AF-C991-41E3-B784-D29D21208E5E}"/>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8" name="Line 152">
                <a:extLst>
                  <a:ext uri="{FF2B5EF4-FFF2-40B4-BE49-F238E27FC236}">
                    <a16:creationId xmlns:a16="http://schemas.microsoft.com/office/drawing/2014/main" id="{BE0135BF-1278-4694-9819-98F554C3D7A5}"/>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9" name="Line 154">
                <a:extLst>
                  <a:ext uri="{FF2B5EF4-FFF2-40B4-BE49-F238E27FC236}">
                    <a16:creationId xmlns:a16="http://schemas.microsoft.com/office/drawing/2014/main" id="{9B290C8C-DA62-4E90-9E6E-F4C7B37C56BC}"/>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0" name="Line 156">
                <a:extLst>
                  <a:ext uri="{FF2B5EF4-FFF2-40B4-BE49-F238E27FC236}">
                    <a16:creationId xmlns:a16="http://schemas.microsoft.com/office/drawing/2014/main" id="{AD786D49-32A1-47C0-BFB5-1D2FBC6CB490}"/>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1" name="Line 158">
                <a:extLst>
                  <a:ext uri="{FF2B5EF4-FFF2-40B4-BE49-F238E27FC236}">
                    <a16:creationId xmlns:a16="http://schemas.microsoft.com/office/drawing/2014/main" id="{59957301-6254-4B63-B295-E86B3F3B3E78}"/>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2" name="Line 160">
                <a:extLst>
                  <a:ext uri="{FF2B5EF4-FFF2-40B4-BE49-F238E27FC236}">
                    <a16:creationId xmlns:a16="http://schemas.microsoft.com/office/drawing/2014/main" id="{6F30B08E-9278-4E13-8863-B1484AFA6705}"/>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3" name="Line 162">
                <a:extLst>
                  <a:ext uri="{FF2B5EF4-FFF2-40B4-BE49-F238E27FC236}">
                    <a16:creationId xmlns:a16="http://schemas.microsoft.com/office/drawing/2014/main" id="{B82A7E3C-2AAD-4B6D-86C2-ABFA8AA1C4F2}"/>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4" name="Line 164">
                <a:extLst>
                  <a:ext uri="{FF2B5EF4-FFF2-40B4-BE49-F238E27FC236}">
                    <a16:creationId xmlns:a16="http://schemas.microsoft.com/office/drawing/2014/main" id="{E5AB0A87-BE16-4217-A730-2077CD5AC04F}"/>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5" name="Line 166">
                <a:extLst>
                  <a:ext uri="{FF2B5EF4-FFF2-40B4-BE49-F238E27FC236}">
                    <a16:creationId xmlns:a16="http://schemas.microsoft.com/office/drawing/2014/main" id="{4EB0EB2D-F894-4C6D-A970-845901DF1EC6}"/>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6" name="Line 168">
                <a:extLst>
                  <a:ext uri="{FF2B5EF4-FFF2-40B4-BE49-F238E27FC236}">
                    <a16:creationId xmlns:a16="http://schemas.microsoft.com/office/drawing/2014/main" id="{E0DA9350-4B8C-4F96-8014-05511EF05D8B}"/>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7" name="Line 170">
                <a:extLst>
                  <a:ext uri="{FF2B5EF4-FFF2-40B4-BE49-F238E27FC236}">
                    <a16:creationId xmlns:a16="http://schemas.microsoft.com/office/drawing/2014/main" id="{8489159B-A091-40F3-99EE-A2D4AFF933ED}"/>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8" name="Line 172">
                <a:extLst>
                  <a:ext uri="{FF2B5EF4-FFF2-40B4-BE49-F238E27FC236}">
                    <a16:creationId xmlns:a16="http://schemas.microsoft.com/office/drawing/2014/main" id="{A634636C-2C0B-4B8D-B95B-FE86D1385D70}"/>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9" name="Line 174">
                <a:extLst>
                  <a:ext uri="{FF2B5EF4-FFF2-40B4-BE49-F238E27FC236}">
                    <a16:creationId xmlns:a16="http://schemas.microsoft.com/office/drawing/2014/main" id="{07DB43F0-84E6-4687-A961-FF490CB03BFC}"/>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0" name="Line 176">
                <a:extLst>
                  <a:ext uri="{FF2B5EF4-FFF2-40B4-BE49-F238E27FC236}">
                    <a16:creationId xmlns:a16="http://schemas.microsoft.com/office/drawing/2014/main" id="{316F8EBB-BD33-4723-8392-B6D7AA694099}"/>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1" name="Line 178">
                <a:extLst>
                  <a:ext uri="{FF2B5EF4-FFF2-40B4-BE49-F238E27FC236}">
                    <a16:creationId xmlns:a16="http://schemas.microsoft.com/office/drawing/2014/main" id="{A508AB81-8D02-4F8E-91BD-8692B2D742B1}"/>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2" name="Line 180">
                <a:extLst>
                  <a:ext uri="{FF2B5EF4-FFF2-40B4-BE49-F238E27FC236}">
                    <a16:creationId xmlns:a16="http://schemas.microsoft.com/office/drawing/2014/main" id="{EC3C09AA-34B7-4E4D-A1E0-71C650AE5877}"/>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3" name="Line 182">
                <a:extLst>
                  <a:ext uri="{FF2B5EF4-FFF2-40B4-BE49-F238E27FC236}">
                    <a16:creationId xmlns:a16="http://schemas.microsoft.com/office/drawing/2014/main" id="{77DA0C3D-81BD-45EE-BC0E-4DE1546F3E4D}"/>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4" name="Line 184">
                <a:extLst>
                  <a:ext uri="{FF2B5EF4-FFF2-40B4-BE49-F238E27FC236}">
                    <a16:creationId xmlns:a16="http://schemas.microsoft.com/office/drawing/2014/main" id="{083624F6-4D9F-4AB6-A053-5026224BBB6B}"/>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5" name="Line 186">
                <a:extLst>
                  <a:ext uri="{FF2B5EF4-FFF2-40B4-BE49-F238E27FC236}">
                    <a16:creationId xmlns:a16="http://schemas.microsoft.com/office/drawing/2014/main" id="{343014C7-3246-492F-ADB5-FA640AACA040}"/>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6" name="Line 188">
                <a:extLst>
                  <a:ext uri="{FF2B5EF4-FFF2-40B4-BE49-F238E27FC236}">
                    <a16:creationId xmlns:a16="http://schemas.microsoft.com/office/drawing/2014/main" id="{06E7F797-B78F-4D46-978F-58FCD25A2E39}"/>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7" name="Line 190">
                <a:extLst>
                  <a:ext uri="{FF2B5EF4-FFF2-40B4-BE49-F238E27FC236}">
                    <a16:creationId xmlns:a16="http://schemas.microsoft.com/office/drawing/2014/main" id="{DC791D00-724F-4DAD-88BD-B1D10CFE6E03}"/>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8" name="Line 192">
                <a:extLst>
                  <a:ext uri="{FF2B5EF4-FFF2-40B4-BE49-F238E27FC236}">
                    <a16:creationId xmlns:a16="http://schemas.microsoft.com/office/drawing/2014/main" id="{41BEAE85-4DFA-4FFF-A474-B908C37785C1}"/>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9" name="Line 194">
                <a:extLst>
                  <a:ext uri="{FF2B5EF4-FFF2-40B4-BE49-F238E27FC236}">
                    <a16:creationId xmlns:a16="http://schemas.microsoft.com/office/drawing/2014/main" id="{5023C5AD-8DDD-4154-BDDF-33C52BA078BA}"/>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0" name="Line 196">
                <a:extLst>
                  <a:ext uri="{FF2B5EF4-FFF2-40B4-BE49-F238E27FC236}">
                    <a16:creationId xmlns:a16="http://schemas.microsoft.com/office/drawing/2014/main" id="{FC2149B0-FE3D-40DE-AC27-881E9BE5D537}"/>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1" name="Line 198">
                <a:extLst>
                  <a:ext uri="{FF2B5EF4-FFF2-40B4-BE49-F238E27FC236}">
                    <a16:creationId xmlns:a16="http://schemas.microsoft.com/office/drawing/2014/main" id="{41CCEB67-C88A-4D33-B444-7C59C65944CE}"/>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2" name="Line 200">
                <a:extLst>
                  <a:ext uri="{FF2B5EF4-FFF2-40B4-BE49-F238E27FC236}">
                    <a16:creationId xmlns:a16="http://schemas.microsoft.com/office/drawing/2014/main" id="{0B285FC7-3130-4987-839B-CAA9088FAF9C}"/>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3" name="Line 202">
                <a:extLst>
                  <a:ext uri="{FF2B5EF4-FFF2-40B4-BE49-F238E27FC236}">
                    <a16:creationId xmlns:a16="http://schemas.microsoft.com/office/drawing/2014/main" id="{946C3B21-4A16-47CF-B7A5-9E602E31912D}"/>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4" name="Line 204">
                <a:extLst>
                  <a:ext uri="{FF2B5EF4-FFF2-40B4-BE49-F238E27FC236}">
                    <a16:creationId xmlns:a16="http://schemas.microsoft.com/office/drawing/2014/main" id="{6D46A112-21CC-4505-AF6D-B4A5AD3E3C33}"/>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5" name="Line 206">
                <a:extLst>
                  <a:ext uri="{FF2B5EF4-FFF2-40B4-BE49-F238E27FC236}">
                    <a16:creationId xmlns:a16="http://schemas.microsoft.com/office/drawing/2014/main" id="{6C56A35D-59C4-43D0-A29D-BF31C116AD3A}"/>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6" name="Line 208">
                <a:extLst>
                  <a:ext uri="{FF2B5EF4-FFF2-40B4-BE49-F238E27FC236}">
                    <a16:creationId xmlns:a16="http://schemas.microsoft.com/office/drawing/2014/main" id="{D956C765-F260-44F5-A5C8-41DDE818D65F}"/>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7" name="Line 210">
                <a:extLst>
                  <a:ext uri="{FF2B5EF4-FFF2-40B4-BE49-F238E27FC236}">
                    <a16:creationId xmlns:a16="http://schemas.microsoft.com/office/drawing/2014/main" id="{2BFE514D-AB7B-4C74-8359-650B1C907331}"/>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8" name="Line 212">
                <a:extLst>
                  <a:ext uri="{FF2B5EF4-FFF2-40B4-BE49-F238E27FC236}">
                    <a16:creationId xmlns:a16="http://schemas.microsoft.com/office/drawing/2014/main" id="{B92E6957-6842-4EC4-BFD8-DA396C8B580D}"/>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9" name="Line 214">
                <a:extLst>
                  <a:ext uri="{FF2B5EF4-FFF2-40B4-BE49-F238E27FC236}">
                    <a16:creationId xmlns:a16="http://schemas.microsoft.com/office/drawing/2014/main" id="{D32326E6-EAD8-4881-8BA2-2B4DA033CD06}"/>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0" name="Line 216">
                <a:extLst>
                  <a:ext uri="{FF2B5EF4-FFF2-40B4-BE49-F238E27FC236}">
                    <a16:creationId xmlns:a16="http://schemas.microsoft.com/office/drawing/2014/main" id="{96A21FED-48D5-4186-B204-A68E522675C4}"/>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1" name="Line 218">
                <a:extLst>
                  <a:ext uri="{FF2B5EF4-FFF2-40B4-BE49-F238E27FC236}">
                    <a16:creationId xmlns:a16="http://schemas.microsoft.com/office/drawing/2014/main" id="{8607BC08-CC24-4072-B352-88E804608154}"/>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2" name="Line 220">
                <a:extLst>
                  <a:ext uri="{FF2B5EF4-FFF2-40B4-BE49-F238E27FC236}">
                    <a16:creationId xmlns:a16="http://schemas.microsoft.com/office/drawing/2014/main" id="{DADCC56A-6C72-48A3-911A-CA334A2A2A7D}"/>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3" name="Line 222">
                <a:extLst>
                  <a:ext uri="{FF2B5EF4-FFF2-40B4-BE49-F238E27FC236}">
                    <a16:creationId xmlns:a16="http://schemas.microsoft.com/office/drawing/2014/main" id="{1C102CFD-054C-4487-9EAB-8811BD371B76}"/>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4" name="Line 224">
                <a:extLst>
                  <a:ext uri="{FF2B5EF4-FFF2-40B4-BE49-F238E27FC236}">
                    <a16:creationId xmlns:a16="http://schemas.microsoft.com/office/drawing/2014/main" id="{54C26403-C7DA-4277-A876-26961161C75F}"/>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5" name="Line 226">
                <a:extLst>
                  <a:ext uri="{FF2B5EF4-FFF2-40B4-BE49-F238E27FC236}">
                    <a16:creationId xmlns:a16="http://schemas.microsoft.com/office/drawing/2014/main" id="{C850DC46-D836-43AA-91E4-0CAEAFF0B21C}"/>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6" name="Line 228">
                <a:extLst>
                  <a:ext uri="{FF2B5EF4-FFF2-40B4-BE49-F238E27FC236}">
                    <a16:creationId xmlns:a16="http://schemas.microsoft.com/office/drawing/2014/main" id="{08B639D6-0FDD-48E0-93A7-FF54C6B25B39}"/>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7" name="Line 146">
                <a:extLst>
                  <a:ext uri="{FF2B5EF4-FFF2-40B4-BE49-F238E27FC236}">
                    <a16:creationId xmlns:a16="http://schemas.microsoft.com/office/drawing/2014/main" id="{DEF8C1F8-55EE-401D-819A-833529D1FE58}"/>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8" name="Line 204">
                <a:extLst>
                  <a:ext uri="{FF2B5EF4-FFF2-40B4-BE49-F238E27FC236}">
                    <a16:creationId xmlns:a16="http://schemas.microsoft.com/office/drawing/2014/main" id="{4800BFA0-18DC-4C04-A836-6B46A77DC8C0}"/>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2" name="Group 11">
              <a:extLst>
                <a:ext uri="{FF2B5EF4-FFF2-40B4-BE49-F238E27FC236}">
                  <a16:creationId xmlns:a16="http://schemas.microsoft.com/office/drawing/2014/main" id="{D5DE74E8-E2D0-419E-80E5-7EEE8E074C8B}"/>
                </a:ext>
              </a:extLst>
            </p:cNvPr>
            <p:cNvGrpSpPr/>
            <p:nvPr userDrawn="1"/>
          </p:nvGrpSpPr>
          <p:grpSpPr bwMode="gray">
            <a:xfrm>
              <a:off x="0" y="6948152"/>
              <a:ext cx="12192000" cy="232538"/>
              <a:chOff x="0" y="-319423"/>
              <a:chExt cx="12192000" cy="232538"/>
            </a:xfrm>
          </p:grpSpPr>
          <p:sp>
            <p:nvSpPr>
              <p:cNvPr id="41" name="Line 146">
                <a:extLst>
                  <a:ext uri="{FF2B5EF4-FFF2-40B4-BE49-F238E27FC236}">
                    <a16:creationId xmlns:a16="http://schemas.microsoft.com/office/drawing/2014/main" id="{7EFBA02A-B651-4548-A030-676E88430FD8}"/>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2" name="Line 148">
                <a:extLst>
                  <a:ext uri="{FF2B5EF4-FFF2-40B4-BE49-F238E27FC236}">
                    <a16:creationId xmlns:a16="http://schemas.microsoft.com/office/drawing/2014/main" id="{FE0C9EA3-FE59-410D-B5AD-5F3F663459D2}"/>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3" name="Line 150">
                <a:extLst>
                  <a:ext uri="{FF2B5EF4-FFF2-40B4-BE49-F238E27FC236}">
                    <a16:creationId xmlns:a16="http://schemas.microsoft.com/office/drawing/2014/main" id="{5A57804B-5243-4868-BA77-08903EEDFAC8}"/>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4" name="Line 152">
                <a:extLst>
                  <a:ext uri="{FF2B5EF4-FFF2-40B4-BE49-F238E27FC236}">
                    <a16:creationId xmlns:a16="http://schemas.microsoft.com/office/drawing/2014/main" id="{B476EA97-4748-4CBF-A29E-396CB50D084B}"/>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5" name="Line 154">
                <a:extLst>
                  <a:ext uri="{FF2B5EF4-FFF2-40B4-BE49-F238E27FC236}">
                    <a16:creationId xmlns:a16="http://schemas.microsoft.com/office/drawing/2014/main" id="{5884F138-AFFD-45A7-B79B-0DF095A34421}"/>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6" name="Line 156">
                <a:extLst>
                  <a:ext uri="{FF2B5EF4-FFF2-40B4-BE49-F238E27FC236}">
                    <a16:creationId xmlns:a16="http://schemas.microsoft.com/office/drawing/2014/main" id="{7FE1262B-E0AB-4994-8400-63AA78AB3A2D}"/>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7" name="Line 158">
                <a:extLst>
                  <a:ext uri="{FF2B5EF4-FFF2-40B4-BE49-F238E27FC236}">
                    <a16:creationId xmlns:a16="http://schemas.microsoft.com/office/drawing/2014/main" id="{D09061DE-1FF4-4391-AFEF-3A8E7856EAC9}"/>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8" name="Line 160">
                <a:extLst>
                  <a:ext uri="{FF2B5EF4-FFF2-40B4-BE49-F238E27FC236}">
                    <a16:creationId xmlns:a16="http://schemas.microsoft.com/office/drawing/2014/main" id="{D2CE04BE-D1E6-4D04-94F4-D9D514DC4AA3}"/>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9" name="Line 162">
                <a:extLst>
                  <a:ext uri="{FF2B5EF4-FFF2-40B4-BE49-F238E27FC236}">
                    <a16:creationId xmlns:a16="http://schemas.microsoft.com/office/drawing/2014/main" id="{37754628-7C2F-4735-93A7-0F67702E82F9}"/>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0" name="Line 164">
                <a:extLst>
                  <a:ext uri="{FF2B5EF4-FFF2-40B4-BE49-F238E27FC236}">
                    <a16:creationId xmlns:a16="http://schemas.microsoft.com/office/drawing/2014/main" id="{6CA6BC1F-C578-4B52-AC00-CB99CF595B27}"/>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1" name="Line 166">
                <a:extLst>
                  <a:ext uri="{FF2B5EF4-FFF2-40B4-BE49-F238E27FC236}">
                    <a16:creationId xmlns:a16="http://schemas.microsoft.com/office/drawing/2014/main" id="{5EA9A5BD-CF81-4538-BDBE-96FD4D054D0C}"/>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2" name="Line 168">
                <a:extLst>
                  <a:ext uri="{FF2B5EF4-FFF2-40B4-BE49-F238E27FC236}">
                    <a16:creationId xmlns:a16="http://schemas.microsoft.com/office/drawing/2014/main" id="{267D759E-A10E-4E9A-9106-5C2037BEAD9F}"/>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3" name="Line 170">
                <a:extLst>
                  <a:ext uri="{FF2B5EF4-FFF2-40B4-BE49-F238E27FC236}">
                    <a16:creationId xmlns:a16="http://schemas.microsoft.com/office/drawing/2014/main" id="{9712EDCE-D6F9-4EBB-B3D3-DE71F20768A1}"/>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4" name="Line 172">
                <a:extLst>
                  <a:ext uri="{FF2B5EF4-FFF2-40B4-BE49-F238E27FC236}">
                    <a16:creationId xmlns:a16="http://schemas.microsoft.com/office/drawing/2014/main" id="{613F195A-F1E6-459F-B2A9-93F2A41A9C30}"/>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5" name="Line 174">
                <a:extLst>
                  <a:ext uri="{FF2B5EF4-FFF2-40B4-BE49-F238E27FC236}">
                    <a16:creationId xmlns:a16="http://schemas.microsoft.com/office/drawing/2014/main" id="{536ED899-E684-46ED-ABBA-7C62E2C15F6A}"/>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6" name="Line 176">
                <a:extLst>
                  <a:ext uri="{FF2B5EF4-FFF2-40B4-BE49-F238E27FC236}">
                    <a16:creationId xmlns:a16="http://schemas.microsoft.com/office/drawing/2014/main" id="{4C5FECFA-B60D-4DD1-B042-004BBC3BA76F}"/>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7" name="Line 178">
                <a:extLst>
                  <a:ext uri="{FF2B5EF4-FFF2-40B4-BE49-F238E27FC236}">
                    <a16:creationId xmlns:a16="http://schemas.microsoft.com/office/drawing/2014/main" id="{DC5FCA3D-3065-4F4A-BAF6-0019FFE18F88}"/>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8" name="Line 180">
                <a:extLst>
                  <a:ext uri="{FF2B5EF4-FFF2-40B4-BE49-F238E27FC236}">
                    <a16:creationId xmlns:a16="http://schemas.microsoft.com/office/drawing/2014/main" id="{D769946E-B3F7-4D31-9C18-EE9D50E8151F}"/>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9" name="Line 182">
                <a:extLst>
                  <a:ext uri="{FF2B5EF4-FFF2-40B4-BE49-F238E27FC236}">
                    <a16:creationId xmlns:a16="http://schemas.microsoft.com/office/drawing/2014/main" id="{9F003316-1FDF-4EA7-81B1-58355B5A7074}"/>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0" name="Line 184">
                <a:extLst>
                  <a:ext uri="{FF2B5EF4-FFF2-40B4-BE49-F238E27FC236}">
                    <a16:creationId xmlns:a16="http://schemas.microsoft.com/office/drawing/2014/main" id="{260391A8-D965-4C40-BCAF-CA622F8336BC}"/>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1" name="Line 186">
                <a:extLst>
                  <a:ext uri="{FF2B5EF4-FFF2-40B4-BE49-F238E27FC236}">
                    <a16:creationId xmlns:a16="http://schemas.microsoft.com/office/drawing/2014/main" id="{30C87FB2-CD2E-495B-B2D0-D780FC689898}"/>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2" name="Line 188">
                <a:extLst>
                  <a:ext uri="{FF2B5EF4-FFF2-40B4-BE49-F238E27FC236}">
                    <a16:creationId xmlns:a16="http://schemas.microsoft.com/office/drawing/2014/main" id="{00C5AE2E-4DE2-41BB-A10E-CD27B41F68D6}"/>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3" name="Line 190">
                <a:extLst>
                  <a:ext uri="{FF2B5EF4-FFF2-40B4-BE49-F238E27FC236}">
                    <a16:creationId xmlns:a16="http://schemas.microsoft.com/office/drawing/2014/main" id="{0BAAD8B3-BEA3-43A7-AF53-797289B59AE7}"/>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4" name="Line 192">
                <a:extLst>
                  <a:ext uri="{FF2B5EF4-FFF2-40B4-BE49-F238E27FC236}">
                    <a16:creationId xmlns:a16="http://schemas.microsoft.com/office/drawing/2014/main" id="{DA139A13-A795-42A9-9906-BC8512F9D3C1}"/>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5" name="Line 194">
                <a:extLst>
                  <a:ext uri="{FF2B5EF4-FFF2-40B4-BE49-F238E27FC236}">
                    <a16:creationId xmlns:a16="http://schemas.microsoft.com/office/drawing/2014/main" id="{1FC39655-AF61-4908-B780-80D28AA7573E}"/>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6" name="Line 196">
                <a:extLst>
                  <a:ext uri="{FF2B5EF4-FFF2-40B4-BE49-F238E27FC236}">
                    <a16:creationId xmlns:a16="http://schemas.microsoft.com/office/drawing/2014/main" id="{D71D18DF-011F-4EBB-B49F-EEED7D340385}"/>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7" name="Line 198">
                <a:extLst>
                  <a:ext uri="{FF2B5EF4-FFF2-40B4-BE49-F238E27FC236}">
                    <a16:creationId xmlns:a16="http://schemas.microsoft.com/office/drawing/2014/main" id="{2AFFB89B-DFE7-4286-86A0-AD5662099032}"/>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8" name="Line 200">
                <a:extLst>
                  <a:ext uri="{FF2B5EF4-FFF2-40B4-BE49-F238E27FC236}">
                    <a16:creationId xmlns:a16="http://schemas.microsoft.com/office/drawing/2014/main" id="{27D173EC-8AE2-4BFB-8001-E2EC643BA02D}"/>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9" name="Line 202">
                <a:extLst>
                  <a:ext uri="{FF2B5EF4-FFF2-40B4-BE49-F238E27FC236}">
                    <a16:creationId xmlns:a16="http://schemas.microsoft.com/office/drawing/2014/main" id="{2BA084E1-0747-44CE-8CD0-845960C98F16}"/>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0" name="Line 204">
                <a:extLst>
                  <a:ext uri="{FF2B5EF4-FFF2-40B4-BE49-F238E27FC236}">
                    <a16:creationId xmlns:a16="http://schemas.microsoft.com/office/drawing/2014/main" id="{BA29E7A7-695F-4819-909B-DF580C025C7D}"/>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1" name="Line 206">
                <a:extLst>
                  <a:ext uri="{FF2B5EF4-FFF2-40B4-BE49-F238E27FC236}">
                    <a16:creationId xmlns:a16="http://schemas.microsoft.com/office/drawing/2014/main" id="{B5BEFD7C-E23E-4510-9281-4517F8A7A5F3}"/>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2" name="Line 208">
                <a:extLst>
                  <a:ext uri="{FF2B5EF4-FFF2-40B4-BE49-F238E27FC236}">
                    <a16:creationId xmlns:a16="http://schemas.microsoft.com/office/drawing/2014/main" id="{6B89ADB5-8E95-404B-AAB8-1BD1EDBA105F}"/>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3" name="Line 210">
                <a:extLst>
                  <a:ext uri="{FF2B5EF4-FFF2-40B4-BE49-F238E27FC236}">
                    <a16:creationId xmlns:a16="http://schemas.microsoft.com/office/drawing/2014/main" id="{F0259992-1020-4D10-8D8B-B64806508DB0}"/>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4" name="Line 212">
                <a:extLst>
                  <a:ext uri="{FF2B5EF4-FFF2-40B4-BE49-F238E27FC236}">
                    <a16:creationId xmlns:a16="http://schemas.microsoft.com/office/drawing/2014/main" id="{2761D797-F11B-4926-BFF1-D77912CE6226}"/>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5" name="Line 214">
                <a:extLst>
                  <a:ext uri="{FF2B5EF4-FFF2-40B4-BE49-F238E27FC236}">
                    <a16:creationId xmlns:a16="http://schemas.microsoft.com/office/drawing/2014/main" id="{938C71FB-A9EF-4259-A1C6-47DA105EEB2E}"/>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6" name="Line 216">
                <a:extLst>
                  <a:ext uri="{FF2B5EF4-FFF2-40B4-BE49-F238E27FC236}">
                    <a16:creationId xmlns:a16="http://schemas.microsoft.com/office/drawing/2014/main" id="{65FD9FBB-07DD-4950-ACA5-1D499F452D3C}"/>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7" name="Line 218">
                <a:extLst>
                  <a:ext uri="{FF2B5EF4-FFF2-40B4-BE49-F238E27FC236}">
                    <a16:creationId xmlns:a16="http://schemas.microsoft.com/office/drawing/2014/main" id="{B29134EF-30C5-412D-AAB3-725A13AA3A40}"/>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8" name="Line 220">
                <a:extLst>
                  <a:ext uri="{FF2B5EF4-FFF2-40B4-BE49-F238E27FC236}">
                    <a16:creationId xmlns:a16="http://schemas.microsoft.com/office/drawing/2014/main" id="{3B8DDBB4-F2B1-4FAD-B3CB-F0A2E94B65DF}"/>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9" name="Line 222">
                <a:extLst>
                  <a:ext uri="{FF2B5EF4-FFF2-40B4-BE49-F238E27FC236}">
                    <a16:creationId xmlns:a16="http://schemas.microsoft.com/office/drawing/2014/main" id="{028199ED-9809-4C9C-80F2-710CBAE810F3}"/>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0" name="Line 224">
                <a:extLst>
                  <a:ext uri="{FF2B5EF4-FFF2-40B4-BE49-F238E27FC236}">
                    <a16:creationId xmlns:a16="http://schemas.microsoft.com/office/drawing/2014/main" id="{2845ADAC-9ADE-4FC8-9B00-1C854FF3320F}"/>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1" name="Line 226">
                <a:extLst>
                  <a:ext uri="{FF2B5EF4-FFF2-40B4-BE49-F238E27FC236}">
                    <a16:creationId xmlns:a16="http://schemas.microsoft.com/office/drawing/2014/main" id="{D61A2115-6CBC-4F8E-ADE2-62C0C5095030}"/>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Line 228">
                <a:extLst>
                  <a:ext uri="{FF2B5EF4-FFF2-40B4-BE49-F238E27FC236}">
                    <a16:creationId xmlns:a16="http://schemas.microsoft.com/office/drawing/2014/main" id="{4C9EE595-48B7-4EF0-8440-202EB9C53A57}"/>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3" name="Line 146">
                <a:extLst>
                  <a:ext uri="{FF2B5EF4-FFF2-40B4-BE49-F238E27FC236}">
                    <a16:creationId xmlns:a16="http://schemas.microsoft.com/office/drawing/2014/main" id="{798C3004-D19C-4F0E-9DDD-CFDE710179FA}"/>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4" name="Line 204">
                <a:extLst>
                  <a:ext uri="{FF2B5EF4-FFF2-40B4-BE49-F238E27FC236}">
                    <a16:creationId xmlns:a16="http://schemas.microsoft.com/office/drawing/2014/main" id="{E0A94EC7-CE93-4317-B1FC-9CCDE8E154CE}"/>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3" name="Group 12">
              <a:extLst>
                <a:ext uri="{FF2B5EF4-FFF2-40B4-BE49-F238E27FC236}">
                  <a16:creationId xmlns:a16="http://schemas.microsoft.com/office/drawing/2014/main" id="{4723FE3F-4EF8-4B60-B802-76D10CF34393}"/>
                </a:ext>
              </a:extLst>
            </p:cNvPr>
            <p:cNvGrpSpPr/>
            <p:nvPr userDrawn="1"/>
          </p:nvGrpSpPr>
          <p:grpSpPr bwMode="gray">
            <a:xfrm>
              <a:off x="12276481" y="0"/>
              <a:ext cx="240289" cy="6858000"/>
              <a:chOff x="-319714" y="0"/>
              <a:chExt cx="240289" cy="6858000"/>
            </a:xfrm>
          </p:grpSpPr>
          <p:sp>
            <p:nvSpPr>
              <p:cNvPr id="14" name="Line 230">
                <a:extLst>
                  <a:ext uri="{FF2B5EF4-FFF2-40B4-BE49-F238E27FC236}">
                    <a16:creationId xmlns:a16="http://schemas.microsoft.com/office/drawing/2014/main" id="{5EDA06B2-0E06-4AF7-A93D-C85FFEEC2527}"/>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 name="Line 232">
                <a:extLst>
                  <a:ext uri="{FF2B5EF4-FFF2-40B4-BE49-F238E27FC236}">
                    <a16:creationId xmlns:a16="http://schemas.microsoft.com/office/drawing/2014/main" id="{1356082B-1A6E-472D-9795-B03A0FCAE7C1}"/>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 name="Line 234">
                <a:extLst>
                  <a:ext uri="{FF2B5EF4-FFF2-40B4-BE49-F238E27FC236}">
                    <a16:creationId xmlns:a16="http://schemas.microsoft.com/office/drawing/2014/main" id="{720EB837-FC62-4DE2-BE18-26C025C42A0F}"/>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8" name="Line 236">
                <a:extLst>
                  <a:ext uri="{FF2B5EF4-FFF2-40B4-BE49-F238E27FC236}">
                    <a16:creationId xmlns:a16="http://schemas.microsoft.com/office/drawing/2014/main" id="{088417B7-A239-4C55-8D1E-5B85B049FD44}"/>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 name="Line 238">
                <a:extLst>
                  <a:ext uri="{FF2B5EF4-FFF2-40B4-BE49-F238E27FC236}">
                    <a16:creationId xmlns:a16="http://schemas.microsoft.com/office/drawing/2014/main" id="{F8E1A479-B6E7-4B03-B6FE-7E805B1F1343}"/>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 name="Line 240">
                <a:extLst>
                  <a:ext uri="{FF2B5EF4-FFF2-40B4-BE49-F238E27FC236}">
                    <a16:creationId xmlns:a16="http://schemas.microsoft.com/office/drawing/2014/main" id="{8B4A2B09-B835-498B-BB53-EB27D66DB6A2}"/>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 name="Line 244">
                <a:extLst>
                  <a:ext uri="{FF2B5EF4-FFF2-40B4-BE49-F238E27FC236}">
                    <a16:creationId xmlns:a16="http://schemas.microsoft.com/office/drawing/2014/main" id="{B1B6D5CC-E596-4C58-8DB5-C46A0BFE14DD}"/>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46">
                <a:extLst>
                  <a:ext uri="{FF2B5EF4-FFF2-40B4-BE49-F238E27FC236}">
                    <a16:creationId xmlns:a16="http://schemas.microsoft.com/office/drawing/2014/main" id="{597CA35F-3BE8-48CB-8D83-6C4E8CE32767}"/>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50">
                <a:extLst>
                  <a:ext uri="{FF2B5EF4-FFF2-40B4-BE49-F238E27FC236}">
                    <a16:creationId xmlns:a16="http://schemas.microsoft.com/office/drawing/2014/main" id="{1CBF1CA7-C220-40C0-A9DE-B5A17E067000}"/>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 name="Line 252">
                <a:extLst>
                  <a:ext uri="{FF2B5EF4-FFF2-40B4-BE49-F238E27FC236}">
                    <a16:creationId xmlns:a16="http://schemas.microsoft.com/office/drawing/2014/main" id="{0EF75B6E-3995-4CD6-99AC-3E2786C91FC8}"/>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 name="Line 254">
                <a:extLst>
                  <a:ext uri="{FF2B5EF4-FFF2-40B4-BE49-F238E27FC236}">
                    <a16:creationId xmlns:a16="http://schemas.microsoft.com/office/drawing/2014/main" id="{5DADF826-6038-4347-8B68-10C66FE46165}"/>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 name="Line 256">
                <a:extLst>
                  <a:ext uri="{FF2B5EF4-FFF2-40B4-BE49-F238E27FC236}">
                    <a16:creationId xmlns:a16="http://schemas.microsoft.com/office/drawing/2014/main" id="{84F0B6A5-D808-4422-BDF7-89723469128D}"/>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 name="Line 258">
                <a:extLst>
                  <a:ext uri="{FF2B5EF4-FFF2-40B4-BE49-F238E27FC236}">
                    <a16:creationId xmlns:a16="http://schemas.microsoft.com/office/drawing/2014/main" id="{8CB308C3-A619-473D-AFF6-84264B35FF62}"/>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 name="Line 260">
                <a:extLst>
                  <a:ext uri="{FF2B5EF4-FFF2-40B4-BE49-F238E27FC236}">
                    <a16:creationId xmlns:a16="http://schemas.microsoft.com/office/drawing/2014/main" id="{4E82F669-CD8A-43FD-92DD-A6A4CFC00007}"/>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0" name="Line 262">
                <a:extLst>
                  <a:ext uri="{FF2B5EF4-FFF2-40B4-BE49-F238E27FC236}">
                    <a16:creationId xmlns:a16="http://schemas.microsoft.com/office/drawing/2014/main" id="{84397A30-BDAB-467A-BF62-BD20301513BF}"/>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1" name="Line 264">
                <a:extLst>
                  <a:ext uri="{FF2B5EF4-FFF2-40B4-BE49-F238E27FC236}">
                    <a16:creationId xmlns:a16="http://schemas.microsoft.com/office/drawing/2014/main" id="{C6340EA9-775A-4577-96E6-FB179C4BF604}"/>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2" name="Line 266">
                <a:extLst>
                  <a:ext uri="{FF2B5EF4-FFF2-40B4-BE49-F238E27FC236}">
                    <a16:creationId xmlns:a16="http://schemas.microsoft.com/office/drawing/2014/main" id="{A6B18075-DC02-440F-8B8C-51A8D4C9D31F}"/>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3" name="Line 268">
                <a:extLst>
                  <a:ext uri="{FF2B5EF4-FFF2-40B4-BE49-F238E27FC236}">
                    <a16:creationId xmlns:a16="http://schemas.microsoft.com/office/drawing/2014/main" id="{C1397D61-423C-4F60-8719-6544E827DCFD}"/>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4" name="Line 270">
                <a:extLst>
                  <a:ext uri="{FF2B5EF4-FFF2-40B4-BE49-F238E27FC236}">
                    <a16:creationId xmlns:a16="http://schemas.microsoft.com/office/drawing/2014/main" id="{B18366A2-BCBE-46B5-BCC4-6921C41C0532}"/>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5" name="Line 272">
                <a:extLst>
                  <a:ext uri="{FF2B5EF4-FFF2-40B4-BE49-F238E27FC236}">
                    <a16:creationId xmlns:a16="http://schemas.microsoft.com/office/drawing/2014/main" id="{555BC0FD-2B56-4B52-A3EF-0FDE6C0BB5DC}"/>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6" name="Line 274">
                <a:extLst>
                  <a:ext uri="{FF2B5EF4-FFF2-40B4-BE49-F238E27FC236}">
                    <a16:creationId xmlns:a16="http://schemas.microsoft.com/office/drawing/2014/main" id="{AAAF6958-71FF-4F42-A293-264C51A84331}"/>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7" name="Line 276">
                <a:extLst>
                  <a:ext uri="{FF2B5EF4-FFF2-40B4-BE49-F238E27FC236}">
                    <a16:creationId xmlns:a16="http://schemas.microsoft.com/office/drawing/2014/main" id="{F7A674F8-B46D-4DB6-B479-9A366C1470B7}"/>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8" name="Line 278">
                <a:extLst>
                  <a:ext uri="{FF2B5EF4-FFF2-40B4-BE49-F238E27FC236}">
                    <a16:creationId xmlns:a16="http://schemas.microsoft.com/office/drawing/2014/main" id="{FBCB9FFA-88C9-4B04-A4F1-5C87ED65172B}"/>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9" name="Line 256">
                <a:extLst>
                  <a:ext uri="{FF2B5EF4-FFF2-40B4-BE49-F238E27FC236}">
                    <a16:creationId xmlns:a16="http://schemas.microsoft.com/office/drawing/2014/main" id="{C1F0A7A0-4F8A-4A3B-8975-B9996225E620}"/>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0" name="Line 234">
                <a:extLst>
                  <a:ext uri="{FF2B5EF4-FFF2-40B4-BE49-F238E27FC236}">
                    <a16:creationId xmlns:a16="http://schemas.microsoft.com/office/drawing/2014/main" id="{416FE1AA-7EC8-451A-867F-1533E43552D8}"/>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156" name="Content Placeholder 1">
            <a:extLst>
              <a:ext uri="{FF2B5EF4-FFF2-40B4-BE49-F238E27FC236}">
                <a16:creationId xmlns:a16="http://schemas.microsoft.com/office/drawing/2014/main" id="{D80E7891-57C1-4CA5-B69A-E959B5752057}"/>
              </a:ext>
            </a:extLst>
          </p:cNvPr>
          <p:cNvSpPr txBox="1">
            <a:spLocks/>
          </p:cNvSpPr>
          <p:nvPr userDrawn="1"/>
        </p:nvSpPr>
        <p:spPr bwMode="gray">
          <a:xfrm>
            <a:off x="-3164400" y="0"/>
            <a:ext cx="2804400" cy="4260141"/>
          </a:xfrm>
          <a:prstGeom prst="rect">
            <a:avLst/>
          </a:prstGeom>
        </p:spPr>
        <p:txBody>
          <a:bodyPr lIns="0" tIns="0" rIns="0" bIns="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gn="l">
              <a:spcBef>
                <a:spcPts val="0"/>
              </a:spcBef>
            </a:pPr>
            <a:r>
              <a:rPr lang="nl-NL" sz="1100" b="1">
                <a:solidFill>
                  <a:schemeClr val="tx1"/>
                </a:solidFill>
              </a:rPr>
              <a:t>Gebruik van afbeeldingen als achtergrond</a:t>
            </a:r>
          </a:p>
          <a:p>
            <a:pPr algn="l">
              <a:spcBef>
                <a:spcPts val="0"/>
              </a:spcBef>
            </a:pPr>
            <a:endParaRPr lang="nl-NL" sz="1100" b="1">
              <a:solidFill>
                <a:schemeClr val="tx1"/>
              </a:solidFill>
            </a:endParaRPr>
          </a:p>
          <a:p>
            <a:pPr marL="171450" indent="-171450" algn="l">
              <a:spcBef>
                <a:spcPts val="0"/>
              </a:spcBef>
              <a:buFont typeface="Arial" panose="020B0604020202020204" pitchFamily="34" charset="0"/>
              <a:buChar char="•"/>
            </a:pPr>
            <a:r>
              <a:rPr lang="nl-NL" sz="1100" b="0">
                <a:solidFill>
                  <a:schemeClr val="tx1"/>
                </a:solidFill>
              </a:rPr>
              <a:t>Klik op het grijze afbeeldingsveld</a:t>
            </a:r>
          </a:p>
          <a:p>
            <a:pPr marL="171450" indent="-171450" algn="l">
              <a:spcBef>
                <a:spcPts val="0"/>
              </a:spcBef>
              <a:buFont typeface="Arial" panose="020B0604020202020204" pitchFamily="34" charset="0"/>
              <a:buChar char="•"/>
            </a:pPr>
            <a:r>
              <a:rPr lang="nl-NL" sz="1100" b="0">
                <a:solidFill>
                  <a:schemeClr val="tx1"/>
                </a:solidFill>
              </a:rPr>
              <a:t>Ga nu naar </a:t>
            </a:r>
            <a:r>
              <a:rPr lang="nl-NL" sz="1100" b="1">
                <a:solidFill>
                  <a:schemeClr val="tx1"/>
                </a:solidFill>
              </a:rPr>
              <a:t>‘Invoegen’ </a:t>
            </a:r>
            <a:r>
              <a:rPr lang="nl-NL" sz="1100" b="0">
                <a:solidFill>
                  <a:schemeClr val="tx1"/>
                </a:solidFill>
              </a:rPr>
              <a:t>en kies </a:t>
            </a:r>
            <a:r>
              <a:rPr lang="nl-NL" sz="1100" b="1">
                <a:solidFill>
                  <a:schemeClr val="tx1"/>
                </a:solidFill>
              </a:rPr>
              <a:t>‘Afbeeldingen’</a:t>
            </a:r>
            <a:r>
              <a:rPr lang="nl-NL" sz="1100" b="0">
                <a:solidFill>
                  <a:schemeClr val="tx1"/>
                </a:solidFill>
              </a:rPr>
              <a:t>. </a:t>
            </a:r>
          </a:p>
          <a:p>
            <a:pPr marL="171450" indent="-171450" algn="l">
              <a:spcBef>
                <a:spcPts val="0"/>
              </a:spcBef>
              <a:buFont typeface="Arial" panose="020B0604020202020204" pitchFamily="34" charset="0"/>
              <a:buChar char="•"/>
            </a:pPr>
            <a:r>
              <a:rPr lang="nl-NL" sz="1100" b="0">
                <a:solidFill>
                  <a:schemeClr val="tx1"/>
                </a:solidFill>
              </a:rPr>
              <a:t>Kies een afbeelding, klik op </a:t>
            </a:r>
            <a:r>
              <a:rPr lang="nl-NL" sz="1100" b="1">
                <a:solidFill>
                  <a:schemeClr val="tx1"/>
                </a:solidFill>
              </a:rPr>
              <a:t>‘Invoegen’ </a:t>
            </a:r>
            <a:r>
              <a:rPr lang="nl-NL" sz="1100" b="0">
                <a:solidFill>
                  <a:schemeClr val="tx1"/>
                </a:solidFill>
              </a:rPr>
              <a:t>en de afbeelding wordt geplaatst.</a:t>
            </a:r>
          </a:p>
          <a:p>
            <a:pPr marL="171450" indent="-171450" algn="l">
              <a:spcBef>
                <a:spcPts val="0"/>
              </a:spcBef>
              <a:buFont typeface="Arial" panose="020B0604020202020204" pitchFamily="34" charset="0"/>
              <a:buChar char="•"/>
            </a:pPr>
            <a:r>
              <a:rPr lang="nl-NL" sz="1100" b="0">
                <a:solidFill>
                  <a:schemeClr val="tx1"/>
                </a:solidFill>
              </a:rPr>
              <a:t>Wil je een uitsnede maken, selecteer dan de foto door erop te klikken en gebruik de crop- functie onder </a:t>
            </a:r>
            <a:r>
              <a:rPr lang="nl-NL" sz="1100" b="1">
                <a:solidFill>
                  <a:schemeClr val="tx1"/>
                </a:solidFill>
              </a:rPr>
              <a:t>‘Opmaak’/’Bijsnijden’</a:t>
            </a:r>
            <a:r>
              <a:rPr lang="nl-NL" sz="1100" b="0">
                <a:solidFill>
                  <a:schemeClr val="tx1"/>
                </a:solidFill>
              </a:rPr>
              <a:t>.</a:t>
            </a:r>
          </a:p>
          <a:p>
            <a:pPr marL="171450" indent="-171450" algn="l">
              <a:spcBef>
                <a:spcPts val="0"/>
              </a:spcBef>
              <a:buFont typeface="Arial" panose="020B0604020202020204" pitchFamily="34" charset="0"/>
              <a:buChar cha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r>
              <a:rPr lang="nl-NL" sz="1100" b="0">
                <a:solidFill>
                  <a:schemeClr val="tx1"/>
                </a:solidFill>
              </a:rPr>
              <a:t>Foto’s kun je kiezen uit de</a:t>
            </a:r>
            <a:r>
              <a:rPr lang="nl-NL" sz="1100" b="0" baseline="0">
                <a:solidFill>
                  <a:schemeClr val="tx1"/>
                </a:solidFill>
              </a:rPr>
              <a:t> </a:t>
            </a:r>
            <a:r>
              <a:rPr lang="nl-NL" sz="1100" b="1" baseline="0">
                <a:solidFill>
                  <a:schemeClr val="tx1"/>
                </a:solidFill>
              </a:rPr>
              <a:t>Mediabank in het UWV Communicatieportaal</a:t>
            </a:r>
            <a:r>
              <a:rPr lang="nl-NL" sz="1100" b="0" baseline="0">
                <a:solidFill>
                  <a:schemeClr val="tx1"/>
                </a:solidFill>
              </a:rPr>
              <a:t>. Deze foto’s zijn van hoge kwaliteit en hiervan is het intellectueel eigendom geregeld. </a:t>
            </a:r>
            <a:br>
              <a:rPr lang="nl-NL" sz="1100" b="0" baseline="0">
                <a:solidFill>
                  <a:schemeClr val="tx1"/>
                </a:solidFill>
              </a:rPr>
            </a:br>
            <a:br>
              <a:rPr lang="nl-NL" sz="1100" b="0" baseline="0">
                <a:solidFill>
                  <a:schemeClr val="tx1"/>
                </a:solidFill>
              </a:rPr>
            </a:br>
            <a:r>
              <a:rPr lang="nl-NL" sz="1100" b="0">
                <a:solidFill>
                  <a:schemeClr val="tx1"/>
                </a:solidFill>
                <a:hlinkClick r:id="rId3"/>
              </a:rPr>
              <a:t>https://communicatieportaal.uwv.nl/modules/product/mediabank/default/?ItemId=3219</a:t>
            </a: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endParaRPr lang="nl-NL" sz="1100" b="0" dirty="0">
              <a:solidFill>
                <a:schemeClr val="tx1"/>
              </a:solidFill>
            </a:endParaRPr>
          </a:p>
        </p:txBody>
      </p:sp>
      <p:sp>
        <p:nvSpPr>
          <p:cNvPr id="160" name="Title 1">
            <a:extLst>
              <a:ext uri="{FF2B5EF4-FFF2-40B4-BE49-F238E27FC236}">
                <a16:creationId xmlns:a16="http://schemas.microsoft.com/office/drawing/2014/main" id="{24F6B94D-0125-48EE-833E-556D6454C509}"/>
              </a:ext>
            </a:extLst>
          </p:cNvPr>
          <p:cNvSpPr>
            <a:spLocks noGrp="1"/>
          </p:cNvSpPr>
          <p:nvPr>
            <p:ph type="ctrTitle" hasCustomPrompt="1"/>
          </p:nvPr>
        </p:nvSpPr>
        <p:spPr bwMode="gray">
          <a:xfrm>
            <a:off x="283535" y="4259551"/>
            <a:ext cx="8506050" cy="1450716"/>
          </a:xfrm>
          <a:prstGeom prst="rect">
            <a:avLst/>
          </a:prstGeom>
          <a:solidFill>
            <a:schemeClr val="tx2"/>
          </a:solidFill>
        </p:spPr>
        <p:txBody>
          <a:bodyPr wrap="square" lIns="284400" tIns="251999" rIns="251999" bIns="251999" anchor="b" anchorCtr="0">
            <a:spAutoFit/>
          </a:bodyPr>
          <a:lstStyle>
            <a:lvl1pPr algn="l">
              <a:lnSpc>
                <a:spcPct val="85000"/>
              </a:lnSpc>
              <a:spcBef>
                <a:spcPts val="600"/>
              </a:spcBef>
              <a:defRPr sz="3600" b="1" kern="1100" baseline="0">
                <a:solidFill>
                  <a:schemeClr val="bg1"/>
                </a:solidFill>
              </a:defRPr>
            </a:lvl1pPr>
          </a:lstStyle>
          <a:p>
            <a:r>
              <a:rPr lang="nl-NL" dirty="0"/>
              <a:t>Klik om de einddia tekst aan te passen</a:t>
            </a:r>
            <a:endParaRPr lang="en-GB" dirty="0"/>
          </a:p>
        </p:txBody>
      </p:sp>
    </p:spTree>
    <p:extLst>
      <p:ext uri="{BB962C8B-B14F-4D97-AF65-F5344CB8AC3E}">
        <p14:creationId xmlns:p14="http://schemas.microsoft.com/office/powerpoint/2010/main" val="97009249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tartdia 02">
    <p:bg bwMode="gray">
      <p:bgPr>
        <a:solidFill>
          <a:srgbClr val="B9E2FF"/>
        </a:solidFill>
        <a:effectLst/>
      </p:bgPr>
    </p:bg>
    <p:spTree>
      <p:nvGrpSpPr>
        <p:cNvPr id="1" name=""/>
        <p:cNvGrpSpPr/>
        <p:nvPr/>
      </p:nvGrpSpPr>
      <p:grpSpPr>
        <a:xfrm>
          <a:off x="0" y="0"/>
          <a:ext cx="0" cy="0"/>
          <a:chOff x="0" y="0"/>
          <a:chExt cx="0" cy="0"/>
        </a:xfrm>
      </p:grpSpPr>
      <p:sp>
        <p:nvSpPr>
          <p:cNvPr id="155" name="Rectangle 154">
            <a:extLst>
              <a:ext uri="{FF2B5EF4-FFF2-40B4-BE49-F238E27FC236}">
                <a16:creationId xmlns:a16="http://schemas.microsoft.com/office/drawing/2014/main" id="{2A9ECD94-20AA-439E-8B30-2E53B4093291}"/>
              </a:ext>
            </a:extLst>
          </p:cNvPr>
          <p:cNvSpPr/>
          <p:nvPr userDrawn="1"/>
        </p:nvSpPr>
        <p:spPr bwMode="gray">
          <a:xfrm>
            <a:off x="-3714750" y="-933450"/>
            <a:ext cx="19621500" cy="8724900"/>
          </a:xfrm>
          <a:prstGeom prst="rect">
            <a:avLst/>
          </a:prstGeom>
          <a:solidFill>
            <a:srgbClr val="0078D2">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7" name="Picture Placeholder 156">
            <a:extLst>
              <a:ext uri="{FF2B5EF4-FFF2-40B4-BE49-F238E27FC236}">
                <a16:creationId xmlns:a16="http://schemas.microsoft.com/office/drawing/2014/main" id="{59F190A2-A552-4D3C-A093-9EBFED464627}"/>
              </a:ext>
            </a:extLst>
          </p:cNvPr>
          <p:cNvSpPr>
            <a:spLocks noGrp="1"/>
          </p:cNvSpPr>
          <p:nvPr>
            <p:ph type="pic" sz="quarter" idx="14" hasCustomPrompt="1"/>
          </p:nvPr>
        </p:nvSpPr>
        <p:spPr bwMode="gray">
          <a:xfrm>
            <a:off x="-600" y="0"/>
            <a:ext cx="12193200" cy="6857995"/>
          </a:xfrm>
          <a:custGeom>
            <a:avLst/>
            <a:gdLst>
              <a:gd name="connsiteX0" fmla="*/ 0 w 12193200"/>
              <a:gd name="connsiteY0" fmla="*/ 0 h 6857995"/>
              <a:gd name="connsiteX1" fmla="*/ 12193200 w 12193200"/>
              <a:gd name="connsiteY1" fmla="*/ 0 h 6857995"/>
              <a:gd name="connsiteX2" fmla="*/ 12193200 w 12193200"/>
              <a:gd name="connsiteY2" fmla="*/ 6857995 h 6857995"/>
              <a:gd name="connsiteX3" fmla="*/ 11338525 w 12193200"/>
              <a:gd name="connsiteY3" fmla="*/ 6857995 h 6857995"/>
              <a:gd name="connsiteX4" fmla="*/ 11338525 w 12193200"/>
              <a:gd name="connsiteY4" fmla="*/ 6011996 h 6857995"/>
              <a:gd name="connsiteX5" fmla="*/ 10492525 w 12193200"/>
              <a:gd name="connsiteY5" fmla="*/ 6011996 h 6857995"/>
              <a:gd name="connsiteX6" fmla="*/ 10492525 w 12193200"/>
              <a:gd name="connsiteY6" fmla="*/ 6857995 h 6857995"/>
              <a:gd name="connsiteX7" fmla="*/ 0 w 12193200"/>
              <a:gd name="connsiteY7" fmla="*/ 6857995 h 685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7995">
                <a:moveTo>
                  <a:pt x="0" y="0"/>
                </a:moveTo>
                <a:lnTo>
                  <a:pt x="12193200" y="0"/>
                </a:lnTo>
                <a:lnTo>
                  <a:pt x="12193200" y="6857995"/>
                </a:lnTo>
                <a:lnTo>
                  <a:pt x="11338525" y="6857995"/>
                </a:lnTo>
                <a:lnTo>
                  <a:pt x="11338525" y="6011996"/>
                </a:lnTo>
                <a:lnTo>
                  <a:pt x="10492525" y="6011996"/>
                </a:lnTo>
                <a:lnTo>
                  <a:pt x="10492525" y="6857995"/>
                </a:lnTo>
                <a:lnTo>
                  <a:pt x="0" y="6857995"/>
                </a:lnTo>
                <a:close/>
              </a:path>
            </a:pathLst>
          </a:custGeom>
          <a:solidFill>
            <a:srgbClr val="CCCCCC"/>
          </a:solidFill>
        </p:spPr>
        <p:txBody>
          <a:bodyPr wrap="square" lIns="0" tIns="1116000" rIns="0" bIns="0" anchor="ctr" anchorCtr="0">
            <a:noAutofit/>
          </a:bodyPr>
          <a:lstStyle>
            <a:lvl1pPr marL="0" indent="0" algn="ctr">
              <a:spcAft>
                <a:spcPts val="0"/>
              </a:spcAft>
              <a:buNone/>
              <a:defRPr/>
            </a:lvl1pPr>
          </a:lstStyle>
          <a:p>
            <a:r>
              <a:rPr lang="nl-NL" dirty="0"/>
              <a:t>Klik om foto toe te voegen.</a:t>
            </a:r>
            <a:br>
              <a:rPr lang="nl-NL" dirty="0"/>
            </a:br>
            <a:endParaRPr lang="nl-NL" dirty="0"/>
          </a:p>
        </p:txBody>
      </p:sp>
      <p:grpSp>
        <p:nvGrpSpPr>
          <p:cNvPr id="5" name="Group 4">
            <a:extLst>
              <a:ext uri="{FF2B5EF4-FFF2-40B4-BE49-F238E27FC236}">
                <a16:creationId xmlns:a16="http://schemas.microsoft.com/office/drawing/2014/main" id="{573B73E5-E411-4B9F-B1AC-DC523235503F}"/>
              </a:ext>
            </a:extLst>
          </p:cNvPr>
          <p:cNvGrpSpPr/>
          <p:nvPr userDrawn="1"/>
        </p:nvGrpSpPr>
        <p:grpSpPr bwMode="gray">
          <a:xfrm>
            <a:off x="-329239" y="-319423"/>
            <a:ext cx="12846009" cy="7500113"/>
            <a:chOff x="-329239" y="-319423"/>
            <a:chExt cx="12846009" cy="7500113"/>
          </a:xfrm>
        </p:grpSpPr>
        <p:grpSp>
          <p:nvGrpSpPr>
            <p:cNvPr id="6" name="Group 5">
              <a:extLst>
                <a:ext uri="{FF2B5EF4-FFF2-40B4-BE49-F238E27FC236}">
                  <a16:creationId xmlns:a16="http://schemas.microsoft.com/office/drawing/2014/main" id="{99508967-6789-4455-8F3E-4671D7ACC11D}"/>
                </a:ext>
              </a:extLst>
            </p:cNvPr>
            <p:cNvGrpSpPr/>
            <p:nvPr userDrawn="1"/>
          </p:nvGrpSpPr>
          <p:grpSpPr bwMode="gray">
            <a:xfrm>
              <a:off x="-329239" y="0"/>
              <a:ext cx="240289" cy="6858000"/>
              <a:chOff x="-319714" y="0"/>
              <a:chExt cx="240289" cy="6858000"/>
            </a:xfrm>
          </p:grpSpPr>
          <p:sp>
            <p:nvSpPr>
              <p:cNvPr id="125" name="Line 230">
                <a:extLst>
                  <a:ext uri="{FF2B5EF4-FFF2-40B4-BE49-F238E27FC236}">
                    <a16:creationId xmlns:a16="http://schemas.microsoft.com/office/drawing/2014/main" id="{CA726A6C-FE95-40FB-A7EF-71FFD9BB3C44}"/>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6" name="Line 232">
                <a:extLst>
                  <a:ext uri="{FF2B5EF4-FFF2-40B4-BE49-F238E27FC236}">
                    <a16:creationId xmlns:a16="http://schemas.microsoft.com/office/drawing/2014/main" id="{D16F2B87-480B-409E-B8FA-1E0B3FC5EE1B}"/>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7" name="Line 234">
                <a:extLst>
                  <a:ext uri="{FF2B5EF4-FFF2-40B4-BE49-F238E27FC236}">
                    <a16:creationId xmlns:a16="http://schemas.microsoft.com/office/drawing/2014/main" id="{27EDB4CB-64D3-41B4-9A3C-D09E5BBB6C6C}"/>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28" name="Line 236">
                <a:extLst>
                  <a:ext uri="{FF2B5EF4-FFF2-40B4-BE49-F238E27FC236}">
                    <a16:creationId xmlns:a16="http://schemas.microsoft.com/office/drawing/2014/main" id="{888866CD-656C-4920-A19F-E3B2D9CC875F}"/>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9" name="Line 238">
                <a:extLst>
                  <a:ext uri="{FF2B5EF4-FFF2-40B4-BE49-F238E27FC236}">
                    <a16:creationId xmlns:a16="http://schemas.microsoft.com/office/drawing/2014/main" id="{4C315EC4-DB46-45F1-9A0A-D909302360D8}"/>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0" name="Line 240">
                <a:extLst>
                  <a:ext uri="{FF2B5EF4-FFF2-40B4-BE49-F238E27FC236}">
                    <a16:creationId xmlns:a16="http://schemas.microsoft.com/office/drawing/2014/main" id="{295EFC9B-E425-4343-97C8-E18C7D25D013}"/>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1" name="Line 244">
                <a:extLst>
                  <a:ext uri="{FF2B5EF4-FFF2-40B4-BE49-F238E27FC236}">
                    <a16:creationId xmlns:a16="http://schemas.microsoft.com/office/drawing/2014/main" id="{67CDEDB8-5405-466A-8C3C-10C240004DD5}"/>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2" name="Line 246">
                <a:extLst>
                  <a:ext uri="{FF2B5EF4-FFF2-40B4-BE49-F238E27FC236}">
                    <a16:creationId xmlns:a16="http://schemas.microsoft.com/office/drawing/2014/main" id="{237F3AB2-2FF7-4212-903D-57B8410A5B42}"/>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3" name="Line 250">
                <a:extLst>
                  <a:ext uri="{FF2B5EF4-FFF2-40B4-BE49-F238E27FC236}">
                    <a16:creationId xmlns:a16="http://schemas.microsoft.com/office/drawing/2014/main" id="{85E0EB53-273C-4254-9D0C-26B753225DF2}"/>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4" name="Line 252">
                <a:extLst>
                  <a:ext uri="{FF2B5EF4-FFF2-40B4-BE49-F238E27FC236}">
                    <a16:creationId xmlns:a16="http://schemas.microsoft.com/office/drawing/2014/main" id="{2F7A4AFA-71C3-463A-865A-B1A95AF786E5}"/>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5" name="Line 254">
                <a:extLst>
                  <a:ext uri="{FF2B5EF4-FFF2-40B4-BE49-F238E27FC236}">
                    <a16:creationId xmlns:a16="http://schemas.microsoft.com/office/drawing/2014/main" id="{1923EE32-1C56-4C75-BEDB-2BAB521E570E}"/>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6" name="Line 256">
                <a:extLst>
                  <a:ext uri="{FF2B5EF4-FFF2-40B4-BE49-F238E27FC236}">
                    <a16:creationId xmlns:a16="http://schemas.microsoft.com/office/drawing/2014/main" id="{0B57B87A-D1D5-49BE-BB15-B2986FD08FBF}"/>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7" name="Line 258">
                <a:extLst>
                  <a:ext uri="{FF2B5EF4-FFF2-40B4-BE49-F238E27FC236}">
                    <a16:creationId xmlns:a16="http://schemas.microsoft.com/office/drawing/2014/main" id="{1F65A37C-B705-41A7-91D2-924BE08893F9}"/>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8" name="Line 260">
                <a:extLst>
                  <a:ext uri="{FF2B5EF4-FFF2-40B4-BE49-F238E27FC236}">
                    <a16:creationId xmlns:a16="http://schemas.microsoft.com/office/drawing/2014/main" id="{A0A6CC6A-53D0-479C-AD25-2F293EFB98A2}"/>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9" name="Line 262">
                <a:extLst>
                  <a:ext uri="{FF2B5EF4-FFF2-40B4-BE49-F238E27FC236}">
                    <a16:creationId xmlns:a16="http://schemas.microsoft.com/office/drawing/2014/main" id="{B61F64C5-66C2-41AA-91FA-E1B7C4CCB7F8}"/>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0" name="Line 264">
                <a:extLst>
                  <a:ext uri="{FF2B5EF4-FFF2-40B4-BE49-F238E27FC236}">
                    <a16:creationId xmlns:a16="http://schemas.microsoft.com/office/drawing/2014/main" id="{31C8ECF7-1270-4047-AD98-7E95D84276CD}"/>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1" name="Line 266">
                <a:extLst>
                  <a:ext uri="{FF2B5EF4-FFF2-40B4-BE49-F238E27FC236}">
                    <a16:creationId xmlns:a16="http://schemas.microsoft.com/office/drawing/2014/main" id="{A9D0C1D5-1D60-497C-89F5-FEF526FD6F69}"/>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2" name="Line 268">
                <a:extLst>
                  <a:ext uri="{FF2B5EF4-FFF2-40B4-BE49-F238E27FC236}">
                    <a16:creationId xmlns:a16="http://schemas.microsoft.com/office/drawing/2014/main" id="{C97FE959-9E6A-42EF-97F8-41BF62D2D9B1}"/>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3" name="Line 270">
                <a:extLst>
                  <a:ext uri="{FF2B5EF4-FFF2-40B4-BE49-F238E27FC236}">
                    <a16:creationId xmlns:a16="http://schemas.microsoft.com/office/drawing/2014/main" id="{36F18E21-014A-4247-B557-6F20B3D677EC}"/>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4" name="Line 272">
                <a:extLst>
                  <a:ext uri="{FF2B5EF4-FFF2-40B4-BE49-F238E27FC236}">
                    <a16:creationId xmlns:a16="http://schemas.microsoft.com/office/drawing/2014/main" id="{BFBA048D-7221-4D3B-8CA7-F7C02A62C318}"/>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5" name="Line 274">
                <a:extLst>
                  <a:ext uri="{FF2B5EF4-FFF2-40B4-BE49-F238E27FC236}">
                    <a16:creationId xmlns:a16="http://schemas.microsoft.com/office/drawing/2014/main" id="{1E498D4D-BD24-491A-B945-1C21CEBACABC}"/>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6" name="Line 276">
                <a:extLst>
                  <a:ext uri="{FF2B5EF4-FFF2-40B4-BE49-F238E27FC236}">
                    <a16:creationId xmlns:a16="http://schemas.microsoft.com/office/drawing/2014/main" id="{00A9A48F-F54E-4C91-A509-220F9D6A08FC}"/>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7" name="Line 278">
                <a:extLst>
                  <a:ext uri="{FF2B5EF4-FFF2-40B4-BE49-F238E27FC236}">
                    <a16:creationId xmlns:a16="http://schemas.microsoft.com/office/drawing/2014/main" id="{A8671963-C3AB-4C2E-8685-112C391C5C73}"/>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8" name="Line 256">
                <a:extLst>
                  <a:ext uri="{FF2B5EF4-FFF2-40B4-BE49-F238E27FC236}">
                    <a16:creationId xmlns:a16="http://schemas.microsoft.com/office/drawing/2014/main" id="{B2DCB3EF-95C3-40AB-9334-C95DBEC73839}"/>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9" name="Line 234">
                <a:extLst>
                  <a:ext uri="{FF2B5EF4-FFF2-40B4-BE49-F238E27FC236}">
                    <a16:creationId xmlns:a16="http://schemas.microsoft.com/office/drawing/2014/main" id="{49F1ADAF-0D1F-4700-A1D5-61F0495B3000}"/>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7" name="Group 6">
              <a:extLst>
                <a:ext uri="{FF2B5EF4-FFF2-40B4-BE49-F238E27FC236}">
                  <a16:creationId xmlns:a16="http://schemas.microsoft.com/office/drawing/2014/main" id="{C47994F2-84BD-4BA3-9EB7-A1D285ADDBA5}"/>
                </a:ext>
              </a:extLst>
            </p:cNvPr>
            <p:cNvGrpSpPr/>
            <p:nvPr userDrawn="1"/>
          </p:nvGrpSpPr>
          <p:grpSpPr bwMode="gray">
            <a:xfrm>
              <a:off x="0" y="-319423"/>
              <a:ext cx="12192000" cy="232538"/>
              <a:chOff x="0" y="-319423"/>
              <a:chExt cx="12192000" cy="232538"/>
            </a:xfrm>
          </p:grpSpPr>
          <p:sp>
            <p:nvSpPr>
              <p:cNvPr id="81" name="Line 146">
                <a:extLst>
                  <a:ext uri="{FF2B5EF4-FFF2-40B4-BE49-F238E27FC236}">
                    <a16:creationId xmlns:a16="http://schemas.microsoft.com/office/drawing/2014/main" id="{1799B9C5-D008-4FAE-841C-9CFCF46A05E8}"/>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Line 148">
                <a:extLst>
                  <a:ext uri="{FF2B5EF4-FFF2-40B4-BE49-F238E27FC236}">
                    <a16:creationId xmlns:a16="http://schemas.microsoft.com/office/drawing/2014/main" id="{042A274F-2D0E-4CC2-A626-65449AAF27EF}"/>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3" name="Line 150">
                <a:extLst>
                  <a:ext uri="{FF2B5EF4-FFF2-40B4-BE49-F238E27FC236}">
                    <a16:creationId xmlns:a16="http://schemas.microsoft.com/office/drawing/2014/main" id="{5E44333D-9108-4420-84BC-0AD5027C4CFB}"/>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4" name="Line 152">
                <a:extLst>
                  <a:ext uri="{FF2B5EF4-FFF2-40B4-BE49-F238E27FC236}">
                    <a16:creationId xmlns:a16="http://schemas.microsoft.com/office/drawing/2014/main" id="{E635932E-9352-4187-AC62-6CD8B09EA08F}"/>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5" name="Line 154">
                <a:extLst>
                  <a:ext uri="{FF2B5EF4-FFF2-40B4-BE49-F238E27FC236}">
                    <a16:creationId xmlns:a16="http://schemas.microsoft.com/office/drawing/2014/main" id="{062B41AC-5CAD-491F-8FEF-BE134089DBBF}"/>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6" name="Line 156">
                <a:extLst>
                  <a:ext uri="{FF2B5EF4-FFF2-40B4-BE49-F238E27FC236}">
                    <a16:creationId xmlns:a16="http://schemas.microsoft.com/office/drawing/2014/main" id="{E325C1D1-CBAB-4B7B-A2F7-DBAF79416F6C}"/>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7" name="Line 158">
                <a:extLst>
                  <a:ext uri="{FF2B5EF4-FFF2-40B4-BE49-F238E27FC236}">
                    <a16:creationId xmlns:a16="http://schemas.microsoft.com/office/drawing/2014/main" id="{BE7AA781-5F84-44D5-B7E0-9CA5C59B41CC}"/>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8" name="Line 160">
                <a:extLst>
                  <a:ext uri="{FF2B5EF4-FFF2-40B4-BE49-F238E27FC236}">
                    <a16:creationId xmlns:a16="http://schemas.microsoft.com/office/drawing/2014/main" id="{D1D406D0-C4F4-42E3-B08E-ED74851ACFCD}"/>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9" name="Line 162">
                <a:extLst>
                  <a:ext uri="{FF2B5EF4-FFF2-40B4-BE49-F238E27FC236}">
                    <a16:creationId xmlns:a16="http://schemas.microsoft.com/office/drawing/2014/main" id="{47130E6D-084C-4542-8326-532CFC25CB2A}"/>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0" name="Line 164">
                <a:extLst>
                  <a:ext uri="{FF2B5EF4-FFF2-40B4-BE49-F238E27FC236}">
                    <a16:creationId xmlns:a16="http://schemas.microsoft.com/office/drawing/2014/main" id="{F6C0C045-77C4-4A9C-811F-9A896FDCE4F5}"/>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1" name="Line 166">
                <a:extLst>
                  <a:ext uri="{FF2B5EF4-FFF2-40B4-BE49-F238E27FC236}">
                    <a16:creationId xmlns:a16="http://schemas.microsoft.com/office/drawing/2014/main" id="{CC516FEC-965B-4F75-9FD0-FC318C2E6F91}"/>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2" name="Line 168">
                <a:extLst>
                  <a:ext uri="{FF2B5EF4-FFF2-40B4-BE49-F238E27FC236}">
                    <a16:creationId xmlns:a16="http://schemas.microsoft.com/office/drawing/2014/main" id="{40DAC012-EB28-4589-ACB0-5B8D8FD5D01E}"/>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3" name="Line 170">
                <a:extLst>
                  <a:ext uri="{FF2B5EF4-FFF2-40B4-BE49-F238E27FC236}">
                    <a16:creationId xmlns:a16="http://schemas.microsoft.com/office/drawing/2014/main" id="{DD656D4A-879B-42AF-B3B2-026D01CEA852}"/>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4" name="Line 172">
                <a:extLst>
                  <a:ext uri="{FF2B5EF4-FFF2-40B4-BE49-F238E27FC236}">
                    <a16:creationId xmlns:a16="http://schemas.microsoft.com/office/drawing/2014/main" id="{E97046B6-72C2-43ED-86C2-CC5CD838BE71}"/>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5" name="Line 174">
                <a:extLst>
                  <a:ext uri="{FF2B5EF4-FFF2-40B4-BE49-F238E27FC236}">
                    <a16:creationId xmlns:a16="http://schemas.microsoft.com/office/drawing/2014/main" id="{E6920F60-2831-478C-8C1D-6D6AD7A853DC}"/>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6" name="Line 176">
                <a:extLst>
                  <a:ext uri="{FF2B5EF4-FFF2-40B4-BE49-F238E27FC236}">
                    <a16:creationId xmlns:a16="http://schemas.microsoft.com/office/drawing/2014/main" id="{427CDCF5-FE47-48E4-9D11-FBC9BA96A72A}"/>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7" name="Line 178">
                <a:extLst>
                  <a:ext uri="{FF2B5EF4-FFF2-40B4-BE49-F238E27FC236}">
                    <a16:creationId xmlns:a16="http://schemas.microsoft.com/office/drawing/2014/main" id="{0C0A1CF5-B0B6-427C-8014-351DFAC87CD8}"/>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8" name="Line 180">
                <a:extLst>
                  <a:ext uri="{FF2B5EF4-FFF2-40B4-BE49-F238E27FC236}">
                    <a16:creationId xmlns:a16="http://schemas.microsoft.com/office/drawing/2014/main" id="{F9246A6E-3FAD-4D8F-BE2C-EAC438D51554}"/>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9" name="Line 182">
                <a:extLst>
                  <a:ext uri="{FF2B5EF4-FFF2-40B4-BE49-F238E27FC236}">
                    <a16:creationId xmlns:a16="http://schemas.microsoft.com/office/drawing/2014/main" id="{C3F03880-C5CE-4FB4-A7F2-BF56D9D2E65F}"/>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0" name="Line 184">
                <a:extLst>
                  <a:ext uri="{FF2B5EF4-FFF2-40B4-BE49-F238E27FC236}">
                    <a16:creationId xmlns:a16="http://schemas.microsoft.com/office/drawing/2014/main" id="{A10D7B31-F5B4-4D80-948A-55118B2FF4B2}"/>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1" name="Line 186">
                <a:extLst>
                  <a:ext uri="{FF2B5EF4-FFF2-40B4-BE49-F238E27FC236}">
                    <a16:creationId xmlns:a16="http://schemas.microsoft.com/office/drawing/2014/main" id="{CA59FA91-9B77-4174-A12E-B6CE3054456E}"/>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2" name="Line 188">
                <a:extLst>
                  <a:ext uri="{FF2B5EF4-FFF2-40B4-BE49-F238E27FC236}">
                    <a16:creationId xmlns:a16="http://schemas.microsoft.com/office/drawing/2014/main" id="{94D2A4B7-D111-4BDC-A293-3687CFBF90B6}"/>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3" name="Line 190">
                <a:extLst>
                  <a:ext uri="{FF2B5EF4-FFF2-40B4-BE49-F238E27FC236}">
                    <a16:creationId xmlns:a16="http://schemas.microsoft.com/office/drawing/2014/main" id="{8F38EAAC-3F49-4DF3-9451-94C3861707F9}"/>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4" name="Line 192">
                <a:extLst>
                  <a:ext uri="{FF2B5EF4-FFF2-40B4-BE49-F238E27FC236}">
                    <a16:creationId xmlns:a16="http://schemas.microsoft.com/office/drawing/2014/main" id="{207764EE-48B8-4D18-8557-B88D54575CEE}"/>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5" name="Line 194">
                <a:extLst>
                  <a:ext uri="{FF2B5EF4-FFF2-40B4-BE49-F238E27FC236}">
                    <a16:creationId xmlns:a16="http://schemas.microsoft.com/office/drawing/2014/main" id="{7D47AB89-3F4C-4DD2-A3AD-23F44DA90F00}"/>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6" name="Line 196">
                <a:extLst>
                  <a:ext uri="{FF2B5EF4-FFF2-40B4-BE49-F238E27FC236}">
                    <a16:creationId xmlns:a16="http://schemas.microsoft.com/office/drawing/2014/main" id="{6A9CE46E-23E3-406E-932F-E6D825D50AA6}"/>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7" name="Line 198">
                <a:extLst>
                  <a:ext uri="{FF2B5EF4-FFF2-40B4-BE49-F238E27FC236}">
                    <a16:creationId xmlns:a16="http://schemas.microsoft.com/office/drawing/2014/main" id="{BE7673AF-8F49-4C81-B182-175C051E0E8F}"/>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8" name="Line 200">
                <a:extLst>
                  <a:ext uri="{FF2B5EF4-FFF2-40B4-BE49-F238E27FC236}">
                    <a16:creationId xmlns:a16="http://schemas.microsoft.com/office/drawing/2014/main" id="{AB01A108-D073-403F-A3B9-932FB75FFFED}"/>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9" name="Line 202">
                <a:extLst>
                  <a:ext uri="{FF2B5EF4-FFF2-40B4-BE49-F238E27FC236}">
                    <a16:creationId xmlns:a16="http://schemas.microsoft.com/office/drawing/2014/main" id="{8E297448-37A8-401E-97AB-7CE264E50EC1}"/>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0" name="Line 204">
                <a:extLst>
                  <a:ext uri="{FF2B5EF4-FFF2-40B4-BE49-F238E27FC236}">
                    <a16:creationId xmlns:a16="http://schemas.microsoft.com/office/drawing/2014/main" id="{6F3C4C85-93AB-43F2-ADE2-DE2DCF1F12D2}"/>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1" name="Line 206">
                <a:extLst>
                  <a:ext uri="{FF2B5EF4-FFF2-40B4-BE49-F238E27FC236}">
                    <a16:creationId xmlns:a16="http://schemas.microsoft.com/office/drawing/2014/main" id="{D747E9B6-C113-4E80-812E-EE5C45EAE7C5}"/>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2" name="Line 208">
                <a:extLst>
                  <a:ext uri="{FF2B5EF4-FFF2-40B4-BE49-F238E27FC236}">
                    <a16:creationId xmlns:a16="http://schemas.microsoft.com/office/drawing/2014/main" id="{50E4B84D-414F-4105-8BAD-2A6ED2A9F08C}"/>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3" name="Line 210">
                <a:extLst>
                  <a:ext uri="{FF2B5EF4-FFF2-40B4-BE49-F238E27FC236}">
                    <a16:creationId xmlns:a16="http://schemas.microsoft.com/office/drawing/2014/main" id="{EB8DF342-42DD-4003-9748-E7BE5C6E6524}"/>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4" name="Line 212">
                <a:extLst>
                  <a:ext uri="{FF2B5EF4-FFF2-40B4-BE49-F238E27FC236}">
                    <a16:creationId xmlns:a16="http://schemas.microsoft.com/office/drawing/2014/main" id="{D34E13CD-A5A3-4111-B76E-A438A42D7715}"/>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5" name="Line 214">
                <a:extLst>
                  <a:ext uri="{FF2B5EF4-FFF2-40B4-BE49-F238E27FC236}">
                    <a16:creationId xmlns:a16="http://schemas.microsoft.com/office/drawing/2014/main" id="{D4CE25B2-09E3-48A0-92ED-4FED60F70E29}"/>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6" name="Line 216">
                <a:extLst>
                  <a:ext uri="{FF2B5EF4-FFF2-40B4-BE49-F238E27FC236}">
                    <a16:creationId xmlns:a16="http://schemas.microsoft.com/office/drawing/2014/main" id="{1A548D09-E058-4B26-9BEC-94D22CFAB679}"/>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7" name="Line 218">
                <a:extLst>
                  <a:ext uri="{FF2B5EF4-FFF2-40B4-BE49-F238E27FC236}">
                    <a16:creationId xmlns:a16="http://schemas.microsoft.com/office/drawing/2014/main" id="{536EEA34-B83F-4308-86FF-0948F73C6CA7}"/>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8" name="Line 220">
                <a:extLst>
                  <a:ext uri="{FF2B5EF4-FFF2-40B4-BE49-F238E27FC236}">
                    <a16:creationId xmlns:a16="http://schemas.microsoft.com/office/drawing/2014/main" id="{A75737BA-37C6-4D66-B0DD-9F108D693EFA}"/>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9" name="Line 222">
                <a:extLst>
                  <a:ext uri="{FF2B5EF4-FFF2-40B4-BE49-F238E27FC236}">
                    <a16:creationId xmlns:a16="http://schemas.microsoft.com/office/drawing/2014/main" id="{D37A1E34-336A-4E8A-9B56-57AC6B0F1824}"/>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0" name="Line 224">
                <a:extLst>
                  <a:ext uri="{FF2B5EF4-FFF2-40B4-BE49-F238E27FC236}">
                    <a16:creationId xmlns:a16="http://schemas.microsoft.com/office/drawing/2014/main" id="{689A318C-7FEE-4D25-A6E3-2CF2825309B2}"/>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1" name="Line 226">
                <a:extLst>
                  <a:ext uri="{FF2B5EF4-FFF2-40B4-BE49-F238E27FC236}">
                    <a16:creationId xmlns:a16="http://schemas.microsoft.com/office/drawing/2014/main" id="{DB30F423-53C4-4F84-8310-6D21B6006577}"/>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2" name="Line 228">
                <a:extLst>
                  <a:ext uri="{FF2B5EF4-FFF2-40B4-BE49-F238E27FC236}">
                    <a16:creationId xmlns:a16="http://schemas.microsoft.com/office/drawing/2014/main" id="{AE3057BF-3191-4542-9109-7D8CF9830BFE}"/>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3" name="Line 146">
                <a:extLst>
                  <a:ext uri="{FF2B5EF4-FFF2-40B4-BE49-F238E27FC236}">
                    <a16:creationId xmlns:a16="http://schemas.microsoft.com/office/drawing/2014/main" id="{D4ADD73B-AAB6-4A1E-843C-8932193FB443}"/>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4" name="Line 204">
                <a:extLst>
                  <a:ext uri="{FF2B5EF4-FFF2-40B4-BE49-F238E27FC236}">
                    <a16:creationId xmlns:a16="http://schemas.microsoft.com/office/drawing/2014/main" id="{BF62AC3A-EB31-43BF-A2CE-92A112BE140B}"/>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8" name="Group 7">
              <a:extLst>
                <a:ext uri="{FF2B5EF4-FFF2-40B4-BE49-F238E27FC236}">
                  <a16:creationId xmlns:a16="http://schemas.microsoft.com/office/drawing/2014/main" id="{20EAADB2-1321-4C76-A572-A2ED7CA71885}"/>
                </a:ext>
              </a:extLst>
            </p:cNvPr>
            <p:cNvGrpSpPr/>
            <p:nvPr userDrawn="1"/>
          </p:nvGrpSpPr>
          <p:grpSpPr bwMode="gray">
            <a:xfrm>
              <a:off x="0" y="6948152"/>
              <a:ext cx="12192000" cy="232538"/>
              <a:chOff x="0" y="-319423"/>
              <a:chExt cx="12192000" cy="232538"/>
            </a:xfrm>
          </p:grpSpPr>
          <p:sp>
            <p:nvSpPr>
              <p:cNvPr id="37" name="Line 146">
                <a:extLst>
                  <a:ext uri="{FF2B5EF4-FFF2-40B4-BE49-F238E27FC236}">
                    <a16:creationId xmlns:a16="http://schemas.microsoft.com/office/drawing/2014/main" id="{D0ECEA6E-F5AE-4A0A-84F1-D5C107B68CA6}"/>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8" name="Line 148">
                <a:extLst>
                  <a:ext uri="{FF2B5EF4-FFF2-40B4-BE49-F238E27FC236}">
                    <a16:creationId xmlns:a16="http://schemas.microsoft.com/office/drawing/2014/main" id="{F2FE5D76-99AE-4257-BE11-0F573568EDD0}"/>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9" name="Line 150">
                <a:extLst>
                  <a:ext uri="{FF2B5EF4-FFF2-40B4-BE49-F238E27FC236}">
                    <a16:creationId xmlns:a16="http://schemas.microsoft.com/office/drawing/2014/main" id="{B07050FC-CCC3-4285-9B47-6EE201481211}"/>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0" name="Line 152">
                <a:extLst>
                  <a:ext uri="{FF2B5EF4-FFF2-40B4-BE49-F238E27FC236}">
                    <a16:creationId xmlns:a16="http://schemas.microsoft.com/office/drawing/2014/main" id="{82133081-61BB-41E2-822F-B1AE7CA4A18B}"/>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1" name="Line 154">
                <a:extLst>
                  <a:ext uri="{FF2B5EF4-FFF2-40B4-BE49-F238E27FC236}">
                    <a16:creationId xmlns:a16="http://schemas.microsoft.com/office/drawing/2014/main" id="{A77EE2D3-A9CB-4DD7-BF71-D3860AB01CED}"/>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2" name="Line 156">
                <a:extLst>
                  <a:ext uri="{FF2B5EF4-FFF2-40B4-BE49-F238E27FC236}">
                    <a16:creationId xmlns:a16="http://schemas.microsoft.com/office/drawing/2014/main" id="{CD1F5602-3A98-4B7C-9776-B8242027CC24}"/>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3" name="Line 158">
                <a:extLst>
                  <a:ext uri="{FF2B5EF4-FFF2-40B4-BE49-F238E27FC236}">
                    <a16:creationId xmlns:a16="http://schemas.microsoft.com/office/drawing/2014/main" id="{91D089F2-ABDE-4A16-8C79-559CE92C33A3}"/>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4" name="Line 160">
                <a:extLst>
                  <a:ext uri="{FF2B5EF4-FFF2-40B4-BE49-F238E27FC236}">
                    <a16:creationId xmlns:a16="http://schemas.microsoft.com/office/drawing/2014/main" id="{B499888C-AF93-45EB-9169-9EC68DFC8E57}"/>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5" name="Line 162">
                <a:extLst>
                  <a:ext uri="{FF2B5EF4-FFF2-40B4-BE49-F238E27FC236}">
                    <a16:creationId xmlns:a16="http://schemas.microsoft.com/office/drawing/2014/main" id="{5B48CFB5-1D16-4539-BDB2-F35E8A949881}"/>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6" name="Line 164">
                <a:extLst>
                  <a:ext uri="{FF2B5EF4-FFF2-40B4-BE49-F238E27FC236}">
                    <a16:creationId xmlns:a16="http://schemas.microsoft.com/office/drawing/2014/main" id="{C8AF0F22-5F88-48FF-B0DB-DC6769828403}"/>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7" name="Line 166">
                <a:extLst>
                  <a:ext uri="{FF2B5EF4-FFF2-40B4-BE49-F238E27FC236}">
                    <a16:creationId xmlns:a16="http://schemas.microsoft.com/office/drawing/2014/main" id="{47B06D60-88FD-4E0A-A99D-8F4B69FCC190}"/>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8" name="Line 168">
                <a:extLst>
                  <a:ext uri="{FF2B5EF4-FFF2-40B4-BE49-F238E27FC236}">
                    <a16:creationId xmlns:a16="http://schemas.microsoft.com/office/drawing/2014/main" id="{6796A2E2-D4DE-41FF-93C7-D55958A497A6}"/>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9" name="Line 170">
                <a:extLst>
                  <a:ext uri="{FF2B5EF4-FFF2-40B4-BE49-F238E27FC236}">
                    <a16:creationId xmlns:a16="http://schemas.microsoft.com/office/drawing/2014/main" id="{69AD2B2E-DC10-4A9B-8A22-C2FFF54AAD74}"/>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0" name="Line 172">
                <a:extLst>
                  <a:ext uri="{FF2B5EF4-FFF2-40B4-BE49-F238E27FC236}">
                    <a16:creationId xmlns:a16="http://schemas.microsoft.com/office/drawing/2014/main" id="{48C36E47-782A-4E02-8E5C-D0857D3E265F}"/>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1" name="Line 174">
                <a:extLst>
                  <a:ext uri="{FF2B5EF4-FFF2-40B4-BE49-F238E27FC236}">
                    <a16:creationId xmlns:a16="http://schemas.microsoft.com/office/drawing/2014/main" id="{7059A0A3-364A-4550-9EC6-6EB4B72D56BE}"/>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2" name="Line 176">
                <a:extLst>
                  <a:ext uri="{FF2B5EF4-FFF2-40B4-BE49-F238E27FC236}">
                    <a16:creationId xmlns:a16="http://schemas.microsoft.com/office/drawing/2014/main" id="{0A308727-1250-4EB9-85A4-E0DE2E2F919A}"/>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3" name="Line 178">
                <a:extLst>
                  <a:ext uri="{FF2B5EF4-FFF2-40B4-BE49-F238E27FC236}">
                    <a16:creationId xmlns:a16="http://schemas.microsoft.com/office/drawing/2014/main" id="{10AE4203-78C3-44A9-9B70-2C8A3783896B}"/>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4" name="Line 180">
                <a:extLst>
                  <a:ext uri="{FF2B5EF4-FFF2-40B4-BE49-F238E27FC236}">
                    <a16:creationId xmlns:a16="http://schemas.microsoft.com/office/drawing/2014/main" id="{2D9E2037-DC4E-4338-8F4F-47EB516EB585}"/>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5" name="Line 182">
                <a:extLst>
                  <a:ext uri="{FF2B5EF4-FFF2-40B4-BE49-F238E27FC236}">
                    <a16:creationId xmlns:a16="http://schemas.microsoft.com/office/drawing/2014/main" id="{93211CF4-2F19-4303-942E-068EC3D8224F}"/>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6" name="Line 184">
                <a:extLst>
                  <a:ext uri="{FF2B5EF4-FFF2-40B4-BE49-F238E27FC236}">
                    <a16:creationId xmlns:a16="http://schemas.microsoft.com/office/drawing/2014/main" id="{9769D68F-50F6-4F36-929B-9CF8B4D87385}"/>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7" name="Line 186">
                <a:extLst>
                  <a:ext uri="{FF2B5EF4-FFF2-40B4-BE49-F238E27FC236}">
                    <a16:creationId xmlns:a16="http://schemas.microsoft.com/office/drawing/2014/main" id="{CB7C4D56-249C-4F2D-99C9-207D4CFAD0DE}"/>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8" name="Line 188">
                <a:extLst>
                  <a:ext uri="{FF2B5EF4-FFF2-40B4-BE49-F238E27FC236}">
                    <a16:creationId xmlns:a16="http://schemas.microsoft.com/office/drawing/2014/main" id="{1F43134E-7FB5-424A-9DF8-C89F3F8AB62B}"/>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9" name="Line 190">
                <a:extLst>
                  <a:ext uri="{FF2B5EF4-FFF2-40B4-BE49-F238E27FC236}">
                    <a16:creationId xmlns:a16="http://schemas.microsoft.com/office/drawing/2014/main" id="{D470D847-AD1C-49BB-8449-4C1E2C979EFD}"/>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0" name="Line 192">
                <a:extLst>
                  <a:ext uri="{FF2B5EF4-FFF2-40B4-BE49-F238E27FC236}">
                    <a16:creationId xmlns:a16="http://schemas.microsoft.com/office/drawing/2014/main" id="{690EF22E-864C-4007-ACD7-23746BEB4382}"/>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1" name="Line 194">
                <a:extLst>
                  <a:ext uri="{FF2B5EF4-FFF2-40B4-BE49-F238E27FC236}">
                    <a16:creationId xmlns:a16="http://schemas.microsoft.com/office/drawing/2014/main" id="{C1EF71AB-0534-42BF-AF73-5BF14EFCF208}"/>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2" name="Line 196">
                <a:extLst>
                  <a:ext uri="{FF2B5EF4-FFF2-40B4-BE49-F238E27FC236}">
                    <a16:creationId xmlns:a16="http://schemas.microsoft.com/office/drawing/2014/main" id="{E8876F28-7665-4925-A773-C187F40AAB90}"/>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3" name="Line 198">
                <a:extLst>
                  <a:ext uri="{FF2B5EF4-FFF2-40B4-BE49-F238E27FC236}">
                    <a16:creationId xmlns:a16="http://schemas.microsoft.com/office/drawing/2014/main" id="{E6E9AA56-F273-49CF-9618-6E75757B1BF4}"/>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4" name="Line 200">
                <a:extLst>
                  <a:ext uri="{FF2B5EF4-FFF2-40B4-BE49-F238E27FC236}">
                    <a16:creationId xmlns:a16="http://schemas.microsoft.com/office/drawing/2014/main" id="{392143E8-B44A-45C7-AC45-2BAAAA9F138B}"/>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5" name="Line 202">
                <a:extLst>
                  <a:ext uri="{FF2B5EF4-FFF2-40B4-BE49-F238E27FC236}">
                    <a16:creationId xmlns:a16="http://schemas.microsoft.com/office/drawing/2014/main" id="{E65AAC03-459F-4E0D-9E02-973269F955B0}"/>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6" name="Line 204">
                <a:extLst>
                  <a:ext uri="{FF2B5EF4-FFF2-40B4-BE49-F238E27FC236}">
                    <a16:creationId xmlns:a16="http://schemas.microsoft.com/office/drawing/2014/main" id="{5C1CC652-6153-4DDD-9165-B92D29FAABB9}"/>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7" name="Line 206">
                <a:extLst>
                  <a:ext uri="{FF2B5EF4-FFF2-40B4-BE49-F238E27FC236}">
                    <a16:creationId xmlns:a16="http://schemas.microsoft.com/office/drawing/2014/main" id="{FC8E0FE2-B8A7-4B53-8F07-D26B720B1EFA}"/>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8" name="Line 208">
                <a:extLst>
                  <a:ext uri="{FF2B5EF4-FFF2-40B4-BE49-F238E27FC236}">
                    <a16:creationId xmlns:a16="http://schemas.microsoft.com/office/drawing/2014/main" id="{D753F6AE-AE07-4561-98F8-D6A6C6CB798F}"/>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9" name="Line 210">
                <a:extLst>
                  <a:ext uri="{FF2B5EF4-FFF2-40B4-BE49-F238E27FC236}">
                    <a16:creationId xmlns:a16="http://schemas.microsoft.com/office/drawing/2014/main" id="{DEEEDA5E-6C54-4374-BC03-96959BE16A3E}"/>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0" name="Line 212">
                <a:extLst>
                  <a:ext uri="{FF2B5EF4-FFF2-40B4-BE49-F238E27FC236}">
                    <a16:creationId xmlns:a16="http://schemas.microsoft.com/office/drawing/2014/main" id="{DB34F2E2-698C-41DE-8A9C-B779B68342C2}"/>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1" name="Line 214">
                <a:extLst>
                  <a:ext uri="{FF2B5EF4-FFF2-40B4-BE49-F238E27FC236}">
                    <a16:creationId xmlns:a16="http://schemas.microsoft.com/office/drawing/2014/main" id="{21212BFC-11C2-4C99-9A38-2D0B21C7AABA}"/>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2" name="Line 216">
                <a:extLst>
                  <a:ext uri="{FF2B5EF4-FFF2-40B4-BE49-F238E27FC236}">
                    <a16:creationId xmlns:a16="http://schemas.microsoft.com/office/drawing/2014/main" id="{675B5CCC-88E8-485F-B327-38A157E8E220}"/>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3" name="Line 218">
                <a:extLst>
                  <a:ext uri="{FF2B5EF4-FFF2-40B4-BE49-F238E27FC236}">
                    <a16:creationId xmlns:a16="http://schemas.microsoft.com/office/drawing/2014/main" id="{5253575C-8E56-4F88-88B7-6DB13CCEE495}"/>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4" name="Line 220">
                <a:extLst>
                  <a:ext uri="{FF2B5EF4-FFF2-40B4-BE49-F238E27FC236}">
                    <a16:creationId xmlns:a16="http://schemas.microsoft.com/office/drawing/2014/main" id="{299A7A9B-8277-424B-9657-68881387B731}"/>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5" name="Line 222">
                <a:extLst>
                  <a:ext uri="{FF2B5EF4-FFF2-40B4-BE49-F238E27FC236}">
                    <a16:creationId xmlns:a16="http://schemas.microsoft.com/office/drawing/2014/main" id="{2133E7B6-86C2-4BBE-AE96-85CA742319DB}"/>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6" name="Line 224">
                <a:extLst>
                  <a:ext uri="{FF2B5EF4-FFF2-40B4-BE49-F238E27FC236}">
                    <a16:creationId xmlns:a16="http://schemas.microsoft.com/office/drawing/2014/main" id="{1D8B627C-F849-4FA0-9695-EA8BE63253E6}"/>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7" name="Line 226">
                <a:extLst>
                  <a:ext uri="{FF2B5EF4-FFF2-40B4-BE49-F238E27FC236}">
                    <a16:creationId xmlns:a16="http://schemas.microsoft.com/office/drawing/2014/main" id="{B4F4C302-B262-4CE8-9236-F83A635D62F1}"/>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8" name="Line 228">
                <a:extLst>
                  <a:ext uri="{FF2B5EF4-FFF2-40B4-BE49-F238E27FC236}">
                    <a16:creationId xmlns:a16="http://schemas.microsoft.com/office/drawing/2014/main" id="{B6A4A867-3274-4A47-9037-5EA2F6A67188}"/>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9" name="Line 146">
                <a:extLst>
                  <a:ext uri="{FF2B5EF4-FFF2-40B4-BE49-F238E27FC236}">
                    <a16:creationId xmlns:a16="http://schemas.microsoft.com/office/drawing/2014/main" id="{F124818D-D508-4B27-9E2B-76F781D4037A}"/>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0" name="Line 204">
                <a:extLst>
                  <a:ext uri="{FF2B5EF4-FFF2-40B4-BE49-F238E27FC236}">
                    <a16:creationId xmlns:a16="http://schemas.microsoft.com/office/drawing/2014/main" id="{7844B2BD-F97B-4F01-AA71-0BE4E06F0759}"/>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9" name="Group 8">
              <a:extLst>
                <a:ext uri="{FF2B5EF4-FFF2-40B4-BE49-F238E27FC236}">
                  <a16:creationId xmlns:a16="http://schemas.microsoft.com/office/drawing/2014/main" id="{E7B946A0-D0C0-4ADC-BF83-FDDF3786E932}"/>
                </a:ext>
              </a:extLst>
            </p:cNvPr>
            <p:cNvGrpSpPr/>
            <p:nvPr userDrawn="1"/>
          </p:nvGrpSpPr>
          <p:grpSpPr bwMode="gray">
            <a:xfrm>
              <a:off x="12276481" y="0"/>
              <a:ext cx="240289" cy="6858000"/>
              <a:chOff x="-319714" y="0"/>
              <a:chExt cx="240289" cy="6858000"/>
            </a:xfrm>
          </p:grpSpPr>
          <p:sp>
            <p:nvSpPr>
              <p:cNvPr id="12" name="Line 230">
                <a:extLst>
                  <a:ext uri="{FF2B5EF4-FFF2-40B4-BE49-F238E27FC236}">
                    <a16:creationId xmlns:a16="http://schemas.microsoft.com/office/drawing/2014/main" id="{1B5BA415-4079-4ED4-AB75-3E25F2572580}"/>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 name="Line 232">
                <a:extLst>
                  <a:ext uri="{FF2B5EF4-FFF2-40B4-BE49-F238E27FC236}">
                    <a16:creationId xmlns:a16="http://schemas.microsoft.com/office/drawing/2014/main" id="{86D8E06D-4691-4924-B3D9-A7CCD2C018F8}"/>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 name="Line 234">
                <a:extLst>
                  <a:ext uri="{FF2B5EF4-FFF2-40B4-BE49-F238E27FC236}">
                    <a16:creationId xmlns:a16="http://schemas.microsoft.com/office/drawing/2014/main" id="{A954308E-D200-40BF-90A4-B465A8A9E327}"/>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5" name="Line 236">
                <a:extLst>
                  <a:ext uri="{FF2B5EF4-FFF2-40B4-BE49-F238E27FC236}">
                    <a16:creationId xmlns:a16="http://schemas.microsoft.com/office/drawing/2014/main" id="{CBE17532-CEAB-45FA-8E7B-2959D0FFDFC8}"/>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 name="Line 238">
                <a:extLst>
                  <a:ext uri="{FF2B5EF4-FFF2-40B4-BE49-F238E27FC236}">
                    <a16:creationId xmlns:a16="http://schemas.microsoft.com/office/drawing/2014/main" id="{13F500D8-3638-4645-8E91-B7910A7B667B}"/>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 name="Line 240">
                <a:extLst>
                  <a:ext uri="{FF2B5EF4-FFF2-40B4-BE49-F238E27FC236}">
                    <a16:creationId xmlns:a16="http://schemas.microsoft.com/office/drawing/2014/main" id="{631FCC1E-B1DE-41E2-A7CB-08656D351680}"/>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8" name="Line 244">
                <a:extLst>
                  <a:ext uri="{FF2B5EF4-FFF2-40B4-BE49-F238E27FC236}">
                    <a16:creationId xmlns:a16="http://schemas.microsoft.com/office/drawing/2014/main" id="{595141E9-9248-40BC-9B4A-71C34645F3BA}"/>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 name="Line 246">
                <a:extLst>
                  <a:ext uri="{FF2B5EF4-FFF2-40B4-BE49-F238E27FC236}">
                    <a16:creationId xmlns:a16="http://schemas.microsoft.com/office/drawing/2014/main" id="{AD5291AD-61FB-4711-BE1F-5D8C0FCED138}"/>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 name="Line 250">
                <a:extLst>
                  <a:ext uri="{FF2B5EF4-FFF2-40B4-BE49-F238E27FC236}">
                    <a16:creationId xmlns:a16="http://schemas.microsoft.com/office/drawing/2014/main" id="{2C08CE5E-78D1-4042-9A3F-B4B19F8C8599}"/>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 name="Line 252">
                <a:extLst>
                  <a:ext uri="{FF2B5EF4-FFF2-40B4-BE49-F238E27FC236}">
                    <a16:creationId xmlns:a16="http://schemas.microsoft.com/office/drawing/2014/main" id="{0A448317-CD27-4EAF-A7BE-710C0F941968}"/>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 name="Line 254">
                <a:extLst>
                  <a:ext uri="{FF2B5EF4-FFF2-40B4-BE49-F238E27FC236}">
                    <a16:creationId xmlns:a16="http://schemas.microsoft.com/office/drawing/2014/main" id="{63D1F36F-7C96-4B40-9D23-675D1A380EFC}"/>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56">
                <a:extLst>
                  <a:ext uri="{FF2B5EF4-FFF2-40B4-BE49-F238E27FC236}">
                    <a16:creationId xmlns:a16="http://schemas.microsoft.com/office/drawing/2014/main" id="{FB8D9BA1-4125-4760-A08E-DD627E5693DA}"/>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58">
                <a:extLst>
                  <a:ext uri="{FF2B5EF4-FFF2-40B4-BE49-F238E27FC236}">
                    <a16:creationId xmlns:a16="http://schemas.microsoft.com/office/drawing/2014/main" id="{4C90F9A2-BD17-40A5-87DE-A4E9C42F3A0A}"/>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 name="Line 260">
                <a:extLst>
                  <a:ext uri="{FF2B5EF4-FFF2-40B4-BE49-F238E27FC236}">
                    <a16:creationId xmlns:a16="http://schemas.microsoft.com/office/drawing/2014/main" id="{1D0CA954-3CF3-4EDD-A938-68036372A508}"/>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 name="Line 262">
                <a:extLst>
                  <a:ext uri="{FF2B5EF4-FFF2-40B4-BE49-F238E27FC236}">
                    <a16:creationId xmlns:a16="http://schemas.microsoft.com/office/drawing/2014/main" id="{49B0E760-CC9A-4327-93E3-A08F9C5475EB}"/>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 name="Line 264">
                <a:extLst>
                  <a:ext uri="{FF2B5EF4-FFF2-40B4-BE49-F238E27FC236}">
                    <a16:creationId xmlns:a16="http://schemas.microsoft.com/office/drawing/2014/main" id="{7668E353-B159-4222-AA0C-2E9A7388BC4A}"/>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 name="Line 266">
                <a:extLst>
                  <a:ext uri="{FF2B5EF4-FFF2-40B4-BE49-F238E27FC236}">
                    <a16:creationId xmlns:a16="http://schemas.microsoft.com/office/drawing/2014/main" id="{DFEBB146-F38E-4F88-BFC9-0F860E79CA74}"/>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 name="Line 268">
                <a:extLst>
                  <a:ext uri="{FF2B5EF4-FFF2-40B4-BE49-F238E27FC236}">
                    <a16:creationId xmlns:a16="http://schemas.microsoft.com/office/drawing/2014/main" id="{51DAC659-B49F-482C-9F6D-6B1599F4C09C}"/>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0" name="Line 270">
                <a:extLst>
                  <a:ext uri="{FF2B5EF4-FFF2-40B4-BE49-F238E27FC236}">
                    <a16:creationId xmlns:a16="http://schemas.microsoft.com/office/drawing/2014/main" id="{DED697B7-B74A-4BF3-BD38-03203B6B03E1}"/>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1" name="Line 272">
                <a:extLst>
                  <a:ext uri="{FF2B5EF4-FFF2-40B4-BE49-F238E27FC236}">
                    <a16:creationId xmlns:a16="http://schemas.microsoft.com/office/drawing/2014/main" id="{C9211318-F137-4A06-BB7C-06F0C37CE40A}"/>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2" name="Line 274">
                <a:extLst>
                  <a:ext uri="{FF2B5EF4-FFF2-40B4-BE49-F238E27FC236}">
                    <a16:creationId xmlns:a16="http://schemas.microsoft.com/office/drawing/2014/main" id="{146F571B-CBE0-4027-A763-22F45135EC4D}"/>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3" name="Line 276">
                <a:extLst>
                  <a:ext uri="{FF2B5EF4-FFF2-40B4-BE49-F238E27FC236}">
                    <a16:creationId xmlns:a16="http://schemas.microsoft.com/office/drawing/2014/main" id="{4EB4B056-6BAA-4B60-BC2F-5891E74F8A3D}"/>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4" name="Line 278">
                <a:extLst>
                  <a:ext uri="{FF2B5EF4-FFF2-40B4-BE49-F238E27FC236}">
                    <a16:creationId xmlns:a16="http://schemas.microsoft.com/office/drawing/2014/main" id="{2D197714-130E-4A5D-AD98-09745DC590EF}"/>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5" name="Line 256">
                <a:extLst>
                  <a:ext uri="{FF2B5EF4-FFF2-40B4-BE49-F238E27FC236}">
                    <a16:creationId xmlns:a16="http://schemas.microsoft.com/office/drawing/2014/main" id="{781DA8BE-839C-42B2-AF4D-F4604A5447D8}"/>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6" name="Line 234">
                <a:extLst>
                  <a:ext uri="{FF2B5EF4-FFF2-40B4-BE49-F238E27FC236}">
                    <a16:creationId xmlns:a16="http://schemas.microsoft.com/office/drawing/2014/main" id="{9A4D1186-75E5-48F1-BDA8-8E1DFAF23574}"/>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154" name="Content Placeholder 1">
            <a:extLst>
              <a:ext uri="{FF2B5EF4-FFF2-40B4-BE49-F238E27FC236}">
                <a16:creationId xmlns:a16="http://schemas.microsoft.com/office/drawing/2014/main" id="{1A826DBE-DA8C-4F98-B2C8-5130498DB8AB}"/>
              </a:ext>
            </a:extLst>
          </p:cNvPr>
          <p:cNvSpPr txBox="1">
            <a:spLocks/>
          </p:cNvSpPr>
          <p:nvPr userDrawn="1"/>
        </p:nvSpPr>
        <p:spPr bwMode="gray">
          <a:xfrm>
            <a:off x="-3164400" y="0"/>
            <a:ext cx="2804400" cy="4260141"/>
          </a:xfrm>
          <a:prstGeom prst="rect">
            <a:avLst/>
          </a:prstGeom>
        </p:spPr>
        <p:txBody>
          <a:bodyPr lIns="0" tIns="0" rIns="0" bIns="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lgn="l">
              <a:spcBef>
                <a:spcPts val="0"/>
              </a:spcBef>
            </a:pPr>
            <a:r>
              <a:rPr lang="nl-NL" sz="1100" b="1">
                <a:solidFill>
                  <a:schemeClr val="tx1"/>
                </a:solidFill>
              </a:rPr>
              <a:t>Gebruik van afbeeldingen als achtergrond</a:t>
            </a:r>
          </a:p>
          <a:p>
            <a:pPr algn="l">
              <a:spcBef>
                <a:spcPts val="0"/>
              </a:spcBef>
            </a:pPr>
            <a:endParaRPr lang="nl-NL" sz="1100" b="1">
              <a:solidFill>
                <a:schemeClr val="tx1"/>
              </a:solidFill>
            </a:endParaRPr>
          </a:p>
          <a:p>
            <a:pPr marL="171450" indent="-171450" algn="l">
              <a:spcBef>
                <a:spcPts val="0"/>
              </a:spcBef>
              <a:buFont typeface="Arial" panose="020B0604020202020204" pitchFamily="34" charset="0"/>
              <a:buChar char="•"/>
            </a:pPr>
            <a:r>
              <a:rPr lang="nl-NL" sz="1100" b="0">
                <a:solidFill>
                  <a:schemeClr val="tx1"/>
                </a:solidFill>
              </a:rPr>
              <a:t>Klik op het grijze afbeeldingsveld</a:t>
            </a:r>
          </a:p>
          <a:p>
            <a:pPr marL="171450" indent="-171450" algn="l">
              <a:spcBef>
                <a:spcPts val="0"/>
              </a:spcBef>
              <a:buFont typeface="Arial" panose="020B0604020202020204" pitchFamily="34" charset="0"/>
              <a:buChar char="•"/>
            </a:pPr>
            <a:r>
              <a:rPr lang="nl-NL" sz="1100" b="0">
                <a:solidFill>
                  <a:schemeClr val="tx1"/>
                </a:solidFill>
              </a:rPr>
              <a:t>Ga nu naar </a:t>
            </a:r>
            <a:r>
              <a:rPr lang="nl-NL" sz="1100" b="1">
                <a:solidFill>
                  <a:schemeClr val="tx1"/>
                </a:solidFill>
              </a:rPr>
              <a:t>‘Invoegen’ </a:t>
            </a:r>
            <a:r>
              <a:rPr lang="nl-NL" sz="1100" b="0">
                <a:solidFill>
                  <a:schemeClr val="tx1"/>
                </a:solidFill>
              </a:rPr>
              <a:t>en kies </a:t>
            </a:r>
            <a:r>
              <a:rPr lang="nl-NL" sz="1100" b="1">
                <a:solidFill>
                  <a:schemeClr val="tx1"/>
                </a:solidFill>
              </a:rPr>
              <a:t>‘Afbeeldingen’</a:t>
            </a:r>
            <a:r>
              <a:rPr lang="nl-NL" sz="1100" b="0">
                <a:solidFill>
                  <a:schemeClr val="tx1"/>
                </a:solidFill>
              </a:rPr>
              <a:t>. </a:t>
            </a:r>
          </a:p>
          <a:p>
            <a:pPr marL="171450" indent="-171450" algn="l">
              <a:spcBef>
                <a:spcPts val="0"/>
              </a:spcBef>
              <a:buFont typeface="Arial" panose="020B0604020202020204" pitchFamily="34" charset="0"/>
              <a:buChar char="•"/>
            </a:pPr>
            <a:r>
              <a:rPr lang="nl-NL" sz="1100" b="0">
                <a:solidFill>
                  <a:schemeClr val="tx1"/>
                </a:solidFill>
              </a:rPr>
              <a:t>Kies een afbeelding, klik op </a:t>
            </a:r>
            <a:r>
              <a:rPr lang="nl-NL" sz="1100" b="1">
                <a:solidFill>
                  <a:schemeClr val="tx1"/>
                </a:solidFill>
              </a:rPr>
              <a:t>‘Invoegen’ </a:t>
            </a:r>
            <a:r>
              <a:rPr lang="nl-NL" sz="1100" b="0">
                <a:solidFill>
                  <a:schemeClr val="tx1"/>
                </a:solidFill>
              </a:rPr>
              <a:t>en de afbeelding wordt geplaatst.</a:t>
            </a:r>
          </a:p>
          <a:p>
            <a:pPr marL="171450" indent="-171450" algn="l">
              <a:spcBef>
                <a:spcPts val="0"/>
              </a:spcBef>
              <a:buFont typeface="Arial" panose="020B0604020202020204" pitchFamily="34" charset="0"/>
              <a:buChar char="•"/>
            </a:pPr>
            <a:r>
              <a:rPr lang="nl-NL" sz="1100" b="0">
                <a:solidFill>
                  <a:schemeClr val="tx1"/>
                </a:solidFill>
              </a:rPr>
              <a:t>Wil je een uitsnede maken, selecteer dan de foto door erop te klikken en gebruik de crop- functie onder </a:t>
            </a:r>
            <a:r>
              <a:rPr lang="nl-NL" sz="1100" b="1">
                <a:solidFill>
                  <a:schemeClr val="tx1"/>
                </a:solidFill>
              </a:rPr>
              <a:t>‘Opmaak’/’Bijsnijden’</a:t>
            </a:r>
            <a:r>
              <a:rPr lang="nl-NL" sz="1100" b="0">
                <a:solidFill>
                  <a:schemeClr val="tx1"/>
                </a:solidFill>
              </a:rPr>
              <a:t>.</a:t>
            </a:r>
          </a:p>
          <a:p>
            <a:pPr marL="171450" indent="-171450" algn="l">
              <a:spcBef>
                <a:spcPts val="0"/>
              </a:spcBef>
              <a:buFont typeface="Arial" panose="020B0604020202020204" pitchFamily="34" charset="0"/>
              <a:buChar cha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r>
              <a:rPr lang="nl-NL" sz="1100" b="0">
                <a:solidFill>
                  <a:schemeClr val="tx1"/>
                </a:solidFill>
              </a:rPr>
              <a:t>Foto’s kun je kiezen uit de</a:t>
            </a:r>
            <a:r>
              <a:rPr lang="nl-NL" sz="1100" b="0" baseline="0">
                <a:solidFill>
                  <a:schemeClr val="tx1"/>
                </a:solidFill>
              </a:rPr>
              <a:t> </a:t>
            </a:r>
            <a:r>
              <a:rPr lang="nl-NL" sz="1100" b="1" baseline="0">
                <a:solidFill>
                  <a:schemeClr val="tx1"/>
                </a:solidFill>
              </a:rPr>
              <a:t>Mediabank in het UWV Communicatieportaal</a:t>
            </a:r>
            <a:r>
              <a:rPr lang="nl-NL" sz="1100" b="0" baseline="0">
                <a:solidFill>
                  <a:schemeClr val="tx1"/>
                </a:solidFill>
              </a:rPr>
              <a:t>. Deze foto’s zijn van hoge kwaliteit en hiervan is het intellectueel eigendom geregeld. </a:t>
            </a:r>
            <a:br>
              <a:rPr lang="nl-NL" sz="1100" b="0" baseline="0">
                <a:solidFill>
                  <a:schemeClr val="tx1"/>
                </a:solidFill>
              </a:rPr>
            </a:br>
            <a:br>
              <a:rPr lang="nl-NL" sz="1100" b="0" baseline="0">
                <a:solidFill>
                  <a:schemeClr val="tx1"/>
                </a:solidFill>
              </a:rPr>
            </a:br>
            <a:r>
              <a:rPr lang="nl-NL" sz="1100" b="0">
                <a:solidFill>
                  <a:schemeClr val="tx1"/>
                </a:solidFill>
                <a:hlinkClick r:id="rId2"/>
              </a:rPr>
              <a:t>https://communicatieportaal.uwv.nl/modules/product/mediabank/default/?ItemId=3219</a:t>
            </a: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endParaRPr lang="nl-NL" sz="1100" b="0">
              <a:solidFill>
                <a:schemeClr val="tx1"/>
              </a:solidFill>
            </a:endParaRPr>
          </a:p>
          <a:p>
            <a:pPr marL="171450" marR="0" indent="-171450" algn="l" defTabSz="685800" rtl="0" eaLnBrk="1" fontAlgn="auto" latinLnBrk="0" hangingPunct="1">
              <a:lnSpc>
                <a:spcPct val="101000"/>
              </a:lnSpc>
              <a:spcBef>
                <a:spcPts val="0"/>
              </a:spcBef>
              <a:spcAft>
                <a:spcPts val="0"/>
              </a:spcAft>
              <a:buClr>
                <a:schemeClr val="accent1"/>
              </a:buClr>
              <a:buSzTx/>
              <a:buFont typeface="Arial" panose="020B0604020202020204" pitchFamily="34" charset="0"/>
              <a:buChar char="•"/>
              <a:tabLst/>
              <a:defRPr/>
            </a:pPr>
            <a:endParaRPr lang="nl-NL" sz="1100" b="0" dirty="0">
              <a:solidFill>
                <a:schemeClr val="tx1"/>
              </a:solidFill>
            </a:endParaRPr>
          </a:p>
        </p:txBody>
      </p:sp>
      <p:sp>
        <p:nvSpPr>
          <p:cNvPr id="152" name="Title 1">
            <a:extLst>
              <a:ext uri="{FF2B5EF4-FFF2-40B4-BE49-F238E27FC236}">
                <a16:creationId xmlns:a16="http://schemas.microsoft.com/office/drawing/2014/main" id="{2FC94C43-5A4B-423B-A312-39C3C922450C}"/>
              </a:ext>
            </a:extLst>
          </p:cNvPr>
          <p:cNvSpPr>
            <a:spLocks noGrp="1"/>
          </p:cNvSpPr>
          <p:nvPr>
            <p:ph type="ctrTitle" hasCustomPrompt="1"/>
          </p:nvPr>
        </p:nvSpPr>
        <p:spPr bwMode="gray">
          <a:xfrm>
            <a:off x="283535" y="285750"/>
            <a:ext cx="8506050" cy="1450716"/>
          </a:xfrm>
          <a:prstGeom prst="rect">
            <a:avLst/>
          </a:prstGeom>
          <a:solidFill>
            <a:schemeClr val="tx2"/>
          </a:solidFill>
        </p:spPr>
        <p:txBody>
          <a:bodyPr wrap="square" lIns="284400" tIns="251999" rIns="251999" bIns="251999" anchor="b" anchorCtr="0">
            <a:noAutofit/>
          </a:bodyPr>
          <a:lstStyle>
            <a:lvl1pPr algn="l">
              <a:lnSpc>
                <a:spcPct val="85000"/>
              </a:lnSpc>
              <a:spcBef>
                <a:spcPts val="600"/>
              </a:spcBef>
              <a:defRPr sz="3600" b="1" kern="1100" baseline="0">
                <a:solidFill>
                  <a:schemeClr val="bg1"/>
                </a:solidFill>
              </a:defRPr>
            </a:lvl1pPr>
          </a:lstStyle>
          <a:p>
            <a:r>
              <a:rPr lang="nl-NL" dirty="0"/>
              <a:t>Klik om de presentatie titel aan te passen</a:t>
            </a:r>
            <a:endParaRPr lang="en-GB" dirty="0"/>
          </a:p>
        </p:txBody>
      </p:sp>
      <p:sp>
        <p:nvSpPr>
          <p:cNvPr id="153" name="Text Placeholder 10">
            <a:extLst>
              <a:ext uri="{FF2B5EF4-FFF2-40B4-BE49-F238E27FC236}">
                <a16:creationId xmlns:a16="http://schemas.microsoft.com/office/drawing/2014/main" id="{F93A9E52-8DAF-4927-81B4-000C66E86E49}"/>
              </a:ext>
            </a:extLst>
          </p:cNvPr>
          <p:cNvSpPr>
            <a:spLocks noGrp="1"/>
          </p:cNvSpPr>
          <p:nvPr>
            <p:ph type="body" sz="quarter" idx="16" hasCustomPrompt="1"/>
          </p:nvPr>
        </p:nvSpPr>
        <p:spPr bwMode="gray">
          <a:xfrm>
            <a:off x="283534" y="2031547"/>
            <a:ext cx="4820075" cy="345013"/>
          </a:xfrm>
          <a:prstGeom prst="rect">
            <a:avLst/>
          </a:prstGeom>
          <a:solidFill>
            <a:schemeClr val="accent2"/>
          </a:solidFill>
        </p:spPr>
        <p:txBody>
          <a:bodyPr lIns="284400" tIns="72000" rIns="108000" bIns="72000" anchor="t" anchorCtr="0">
            <a:spAutoFit/>
          </a:bodyPr>
          <a:lstStyle>
            <a:lvl1pPr marL="0" indent="0" algn="l">
              <a:spcAft>
                <a:spcPts val="0"/>
              </a:spcAft>
              <a:buNone/>
              <a:defRPr sz="1300">
                <a:solidFill>
                  <a:schemeClr val="bg1"/>
                </a:solidFill>
              </a:defRPr>
            </a:lvl1pPr>
          </a:lstStyle>
          <a:p>
            <a:pPr lvl="0"/>
            <a:r>
              <a:rPr lang="nl-NL" dirty="0"/>
              <a:t>Presentator informatie</a:t>
            </a:r>
          </a:p>
        </p:txBody>
      </p:sp>
      <p:sp>
        <p:nvSpPr>
          <p:cNvPr id="156" name="Text Placeholder 3">
            <a:extLst>
              <a:ext uri="{FF2B5EF4-FFF2-40B4-BE49-F238E27FC236}">
                <a16:creationId xmlns:a16="http://schemas.microsoft.com/office/drawing/2014/main" id="{F39B631F-3669-4D93-9CED-14CC64ED7608}"/>
              </a:ext>
            </a:extLst>
          </p:cNvPr>
          <p:cNvSpPr txBox="1">
            <a:spLocks noChangeAspect="1"/>
          </p:cNvSpPr>
          <p:nvPr userDrawn="1"/>
        </p:nvSpPr>
        <p:spPr bwMode="gray">
          <a:xfrm>
            <a:off x="10491925" y="6012000"/>
            <a:ext cx="846000" cy="846000"/>
          </a:xfrm>
          <a:prstGeom prst="rect">
            <a:avLst/>
          </a:prstGeom>
          <a:blipFill>
            <a:blip r:embed="rId3"/>
            <a:stretch>
              <a:fillRect/>
            </a:stretch>
          </a:blipFill>
          <a:ln>
            <a:solidFill>
              <a:srgbClr val="0078D2"/>
            </a:solidFill>
          </a:ln>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Tree>
    <p:extLst>
      <p:ext uri="{BB962C8B-B14F-4D97-AF65-F5344CB8AC3E}">
        <p14:creationId xmlns:p14="http://schemas.microsoft.com/office/powerpoint/2010/main" val="68559401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dia 01">
    <p:bg bwMode="ltGray">
      <p:bgPr>
        <a:solidFill>
          <a:srgbClr val="003383"/>
        </a:solidFill>
        <a:effectLst/>
      </p:bgPr>
    </p:bg>
    <p:spTree>
      <p:nvGrpSpPr>
        <p:cNvPr id="1" name=""/>
        <p:cNvGrpSpPr/>
        <p:nvPr/>
      </p:nvGrpSpPr>
      <p:grpSpPr>
        <a:xfrm>
          <a:off x="0" y="0"/>
          <a:ext cx="0" cy="0"/>
          <a:chOff x="0" y="0"/>
          <a:chExt cx="0" cy="0"/>
        </a:xfrm>
      </p:grpSpPr>
      <p:sp>
        <p:nvSpPr>
          <p:cNvPr id="157" name="Rectangle 156">
            <a:extLst>
              <a:ext uri="{FF2B5EF4-FFF2-40B4-BE49-F238E27FC236}">
                <a16:creationId xmlns:a16="http://schemas.microsoft.com/office/drawing/2014/main" id="{5A821C95-123E-43A9-AE48-CA9633122043}"/>
              </a:ext>
            </a:extLst>
          </p:cNvPr>
          <p:cNvSpPr/>
          <p:nvPr userDrawn="1"/>
        </p:nvSpPr>
        <p:spPr bwMode="gray">
          <a:xfrm>
            <a:off x="-3714750" y="-933450"/>
            <a:ext cx="19621500" cy="87249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9" name="Group 8">
            <a:extLst>
              <a:ext uri="{FF2B5EF4-FFF2-40B4-BE49-F238E27FC236}">
                <a16:creationId xmlns:a16="http://schemas.microsoft.com/office/drawing/2014/main" id="{B5611A4E-C33F-4BA7-8223-6028B57B910E}"/>
              </a:ext>
            </a:extLst>
          </p:cNvPr>
          <p:cNvGrpSpPr/>
          <p:nvPr userDrawn="1"/>
        </p:nvGrpSpPr>
        <p:grpSpPr bwMode="gray">
          <a:xfrm>
            <a:off x="-329239" y="-319423"/>
            <a:ext cx="12846009" cy="7500113"/>
            <a:chOff x="-329239" y="-319423"/>
            <a:chExt cx="12846009" cy="7500113"/>
          </a:xfrm>
        </p:grpSpPr>
        <p:grpSp>
          <p:nvGrpSpPr>
            <p:cNvPr id="10" name="Group 9">
              <a:extLst>
                <a:ext uri="{FF2B5EF4-FFF2-40B4-BE49-F238E27FC236}">
                  <a16:creationId xmlns:a16="http://schemas.microsoft.com/office/drawing/2014/main" id="{8E614B9E-7EFA-43C7-84D2-53496331F855}"/>
                </a:ext>
              </a:extLst>
            </p:cNvPr>
            <p:cNvGrpSpPr/>
            <p:nvPr userDrawn="1"/>
          </p:nvGrpSpPr>
          <p:grpSpPr bwMode="gray">
            <a:xfrm>
              <a:off x="-329239" y="0"/>
              <a:ext cx="240289" cy="6858000"/>
              <a:chOff x="-319714" y="0"/>
              <a:chExt cx="240289" cy="6858000"/>
            </a:xfrm>
          </p:grpSpPr>
          <p:sp>
            <p:nvSpPr>
              <p:cNvPr id="128" name="Line 230">
                <a:extLst>
                  <a:ext uri="{FF2B5EF4-FFF2-40B4-BE49-F238E27FC236}">
                    <a16:creationId xmlns:a16="http://schemas.microsoft.com/office/drawing/2014/main" id="{0336D41F-6A73-469E-9F3A-196A81AA1F87}"/>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9" name="Line 232">
                <a:extLst>
                  <a:ext uri="{FF2B5EF4-FFF2-40B4-BE49-F238E27FC236}">
                    <a16:creationId xmlns:a16="http://schemas.microsoft.com/office/drawing/2014/main" id="{BC38D79D-B1A7-4004-B9FD-E54CFC23227D}"/>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0" name="Line 234">
                <a:extLst>
                  <a:ext uri="{FF2B5EF4-FFF2-40B4-BE49-F238E27FC236}">
                    <a16:creationId xmlns:a16="http://schemas.microsoft.com/office/drawing/2014/main" id="{856AD897-E1C5-46DB-BB45-D55D25C4101C}"/>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31" name="Line 236">
                <a:extLst>
                  <a:ext uri="{FF2B5EF4-FFF2-40B4-BE49-F238E27FC236}">
                    <a16:creationId xmlns:a16="http://schemas.microsoft.com/office/drawing/2014/main" id="{3E128C36-09A3-466F-B94F-680C82361EA9}"/>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2" name="Line 238">
                <a:extLst>
                  <a:ext uri="{FF2B5EF4-FFF2-40B4-BE49-F238E27FC236}">
                    <a16:creationId xmlns:a16="http://schemas.microsoft.com/office/drawing/2014/main" id="{F30C43D2-FE37-4376-859F-8A9621EE159E}"/>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3" name="Line 240">
                <a:extLst>
                  <a:ext uri="{FF2B5EF4-FFF2-40B4-BE49-F238E27FC236}">
                    <a16:creationId xmlns:a16="http://schemas.microsoft.com/office/drawing/2014/main" id="{F4319022-AD04-47B3-B269-D23CBA5B1B60}"/>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4" name="Line 244">
                <a:extLst>
                  <a:ext uri="{FF2B5EF4-FFF2-40B4-BE49-F238E27FC236}">
                    <a16:creationId xmlns:a16="http://schemas.microsoft.com/office/drawing/2014/main" id="{3F588A13-104A-4DEC-AFB7-38D407020D05}"/>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5" name="Line 246">
                <a:extLst>
                  <a:ext uri="{FF2B5EF4-FFF2-40B4-BE49-F238E27FC236}">
                    <a16:creationId xmlns:a16="http://schemas.microsoft.com/office/drawing/2014/main" id="{C994FACE-7818-4108-B75A-C60B4CCEBC7F}"/>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6" name="Line 250">
                <a:extLst>
                  <a:ext uri="{FF2B5EF4-FFF2-40B4-BE49-F238E27FC236}">
                    <a16:creationId xmlns:a16="http://schemas.microsoft.com/office/drawing/2014/main" id="{1C421379-F086-4881-ACD3-2CD1B7D74DE7}"/>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7" name="Line 252">
                <a:extLst>
                  <a:ext uri="{FF2B5EF4-FFF2-40B4-BE49-F238E27FC236}">
                    <a16:creationId xmlns:a16="http://schemas.microsoft.com/office/drawing/2014/main" id="{D1D8254B-E987-4042-9A91-3E8F5EB16510}"/>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8" name="Line 254">
                <a:extLst>
                  <a:ext uri="{FF2B5EF4-FFF2-40B4-BE49-F238E27FC236}">
                    <a16:creationId xmlns:a16="http://schemas.microsoft.com/office/drawing/2014/main" id="{0A172581-491F-467A-BA92-CDAC73F8864A}"/>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9" name="Line 256">
                <a:extLst>
                  <a:ext uri="{FF2B5EF4-FFF2-40B4-BE49-F238E27FC236}">
                    <a16:creationId xmlns:a16="http://schemas.microsoft.com/office/drawing/2014/main" id="{12EDF8B1-2B91-4D58-8ABF-60DFBE3D9433}"/>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0" name="Line 258">
                <a:extLst>
                  <a:ext uri="{FF2B5EF4-FFF2-40B4-BE49-F238E27FC236}">
                    <a16:creationId xmlns:a16="http://schemas.microsoft.com/office/drawing/2014/main" id="{58DE958B-FCFB-48DE-9BEC-A7280F8F615A}"/>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1" name="Line 260">
                <a:extLst>
                  <a:ext uri="{FF2B5EF4-FFF2-40B4-BE49-F238E27FC236}">
                    <a16:creationId xmlns:a16="http://schemas.microsoft.com/office/drawing/2014/main" id="{D85C3CF6-6141-4CDF-91F1-8355C96DDD5C}"/>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2" name="Line 262">
                <a:extLst>
                  <a:ext uri="{FF2B5EF4-FFF2-40B4-BE49-F238E27FC236}">
                    <a16:creationId xmlns:a16="http://schemas.microsoft.com/office/drawing/2014/main" id="{36323773-A2E6-40E0-B824-7DD9F7A31C1E}"/>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3" name="Line 264">
                <a:extLst>
                  <a:ext uri="{FF2B5EF4-FFF2-40B4-BE49-F238E27FC236}">
                    <a16:creationId xmlns:a16="http://schemas.microsoft.com/office/drawing/2014/main" id="{77F00F89-F5D2-4916-BB6E-CD6383003334}"/>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4" name="Line 266">
                <a:extLst>
                  <a:ext uri="{FF2B5EF4-FFF2-40B4-BE49-F238E27FC236}">
                    <a16:creationId xmlns:a16="http://schemas.microsoft.com/office/drawing/2014/main" id="{02EB819C-0662-4C0B-B643-29140DF42E20}"/>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5" name="Line 268">
                <a:extLst>
                  <a:ext uri="{FF2B5EF4-FFF2-40B4-BE49-F238E27FC236}">
                    <a16:creationId xmlns:a16="http://schemas.microsoft.com/office/drawing/2014/main" id="{B922892D-3A48-485C-A592-598192D520A9}"/>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6" name="Line 270">
                <a:extLst>
                  <a:ext uri="{FF2B5EF4-FFF2-40B4-BE49-F238E27FC236}">
                    <a16:creationId xmlns:a16="http://schemas.microsoft.com/office/drawing/2014/main" id="{88028F0A-D0E0-4F9D-BEA5-BE8785C5F689}"/>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7" name="Line 272">
                <a:extLst>
                  <a:ext uri="{FF2B5EF4-FFF2-40B4-BE49-F238E27FC236}">
                    <a16:creationId xmlns:a16="http://schemas.microsoft.com/office/drawing/2014/main" id="{E4187A63-7E69-4CD5-A576-B825CAC13CB1}"/>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8" name="Line 274">
                <a:extLst>
                  <a:ext uri="{FF2B5EF4-FFF2-40B4-BE49-F238E27FC236}">
                    <a16:creationId xmlns:a16="http://schemas.microsoft.com/office/drawing/2014/main" id="{659FE515-D593-4DA2-A200-30DF89F26F81}"/>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9" name="Line 276">
                <a:extLst>
                  <a:ext uri="{FF2B5EF4-FFF2-40B4-BE49-F238E27FC236}">
                    <a16:creationId xmlns:a16="http://schemas.microsoft.com/office/drawing/2014/main" id="{EB891A88-0B92-49CA-9E11-320271CB8239}"/>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0" name="Line 278">
                <a:extLst>
                  <a:ext uri="{FF2B5EF4-FFF2-40B4-BE49-F238E27FC236}">
                    <a16:creationId xmlns:a16="http://schemas.microsoft.com/office/drawing/2014/main" id="{9D412D7A-401A-4302-A662-479A8B03170D}"/>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1" name="Line 256">
                <a:extLst>
                  <a:ext uri="{FF2B5EF4-FFF2-40B4-BE49-F238E27FC236}">
                    <a16:creationId xmlns:a16="http://schemas.microsoft.com/office/drawing/2014/main" id="{6C2542D0-264C-401E-BE42-1DA239417026}"/>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2" name="Line 234">
                <a:extLst>
                  <a:ext uri="{FF2B5EF4-FFF2-40B4-BE49-F238E27FC236}">
                    <a16:creationId xmlns:a16="http://schemas.microsoft.com/office/drawing/2014/main" id="{E080169B-4E6B-43C5-A077-7A90876C5412}"/>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12" name="Group 11">
              <a:extLst>
                <a:ext uri="{FF2B5EF4-FFF2-40B4-BE49-F238E27FC236}">
                  <a16:creationId xmlns:a16="http://schemas.microsoft.com/office/drawing/2014/main" id="{8099C527-A1C7-4B75-AF50-9F554E096FCA}"/>
                </a:ext>
              </a:extLst>
            </p:cNvPr>
            <p:cNvGrpSpPr/>
            <p:nvPr userDrawn="1"/>
          </p:nvGrpSpPr>
          <p:grpSpPr bwMode="gray">
            <a:xfrm>
              <a:off x="0" y="-319423"/>
              <a:ext cx="12192000" cy="232538"/>
              <a:chOff x="0" y="-319423"/>
              <a:chExt cx="12192000" cy="232538"/>
            </a:xfrm>
          </p:grpSpPr>
          <p:sp>
            <p:nvSpPr>
              <p:cNvPr id="84" name="Line 146">
                <a:extLst>
                  <a:ext uri="{FF2B5EF4-FFF2-40B4-BE49-F238E27FC236}">
                    <a16:creationId xmlns:a16="http://schemas.microsoft.com/office/drawing/2014/main" id="{1DF44DC1-1C35-4EA6-A97C-F10D29125AA9}"/>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5" name="Line 148">
                <a:extLst>
                  <a:ext uri="{FF2B5EF4-FFF2-40B4-BE49-F238E27FC236}">
                    <a16:creationId xmlns:a16="http://schemas.microsoft.com/office/drawing/2014/main" id="{26195EF6-422F-4036-B343-2647793A2516}"/>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6" name="Line 150">
                <a:extLst>
                  <a:ext uri="{FF2B5EF4-FFF2-40B4-BE49-F238E27FC236}">
                    <a16:creationId xmlns:a16="http://schemas.microsoft.com/office/drawing/2014/main" id="{28339977-5A9E-46E0-966B-FE7FCD5D09DB}"/>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7" name="Line 152">
                <a:extLst>
                  <a:ext uri="{FF2B5EF4-FFF2-40B4-BE49-F238E27FC236}">
                    <a16:creationId xmlns:a16="http://schemas.microsoft.com/office/drawing/2014/main" id="{64011324-F307-410E-8ED3-9B9FED8E46C3}"/>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8" name="Line 154">
                <a:extLst>
                  <a:ext uri="{FF2B5EF4-FFF2-40B4-BE49-F238E27FC236}">
                    <a16:creationId xmlns:a16="http://schemas.microsoft.com/office/drawing/2014/main" id="{54351987-888E-496B-8B5B-8D335B6FD73F}"/>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9" name="Line 156">
                <a:extLst>
                  <a:ext uri="{FF2B5EF4-FFF2-40B4-BE49-F238E27FC236}">
                    <a16:creationId xmlns:a16="http://schemas.microsoft.com/office/drawing/2014/main" id="{8847D08B-E869-4644-9B7F-84E77069A3A6}"/>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0" name="Line 158">
                <a:extLst>
                  <a:ext uri="{FF2B5EF4-FFF2-40B4-BE49-F238E27FC236}">
                    <a16:creationId xmlns:a16="http://schemas.microsoft.com/office/drawing/2014/main" id="{39F12501-1D7B-4F88-AD3F-A514771A2229}"/>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1" name="Line 160">
                <a:extLst>
                  <a:ext uri="{FF2B5EF4-FFF2-40B4-BE49-F238E27FC236}">
                    <a16:creationId xmlns:a16="http://schemas.microsoft.com/office/drawing/2014/main" id="{4F8D943D-2EF8-4360-B684-51B32FE3B037}"/>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2" name="Line 162">
                <a:extLst>
                  <a:ext uri="{FF2B5EF4-FFF2-40B4-BE49-F238E27FC236}">
                    <a16:creationId xmlns:a16="http://schemas.microsoft.com/office/drawing/2014/main" id="{26A604DD-7EE3-490A-A2D4-871D10DEAC1E}"/>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3" name="Line 164">
                <a:extLst>
                  <a:ext uri="{FF2B5EF4-FFF2-40B4-BE49-F238E27FC236}">
                    <a16:creationId xmlns:a16="http://schemas.microsoft.com/office/drawing/2014/main" id="{36421FBF-FF1B-4B25-87DA-F44AB8E5DB2A}"/>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4" name="Line 166">
                <a:extLst>
                  <a:ext uri="{FF2B5EF4-FFF2-40B4-BE49-F238E27FC236}">
                    <a16:creationId xmlns:a16="http://schemas.microsoft.com/office/drawing/2014/main" id="{2F3BEDB8-7D09-4509-AE93-07285C8B1207}"/>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5" name="Line 168">
                <a:extLst>
                  <a:ext uri="{FF2B5EF4-FFF2-40B4-BE49-F238E27FC236}">
                    <a16:creationId xmlns:a16="http://schemas.microsoft.com/office/drawing/2014/main" id="{E3854520-BE93-47C0-8F13-8D1AEC8D0748}"/>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6" name="Line 170">
                <a:extLst>
                  <a:ext uri="{FF2B5EF4-FFF2-40B4-BE49-F238E27FC236}">
                    <a16:creationId xmlns:a16="http://schemas.microsoft.com/office/drawing/2014/main" id="{41AE4CFB-248A-4D70-8983-5F859F343C66}"/>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7" name="Line 172">
                <a:extLst>
                  <a:ext uri="{FF2B5EF4-FFF2-40B4-BE49-F238E27FC236}">
                    <a16:creationId xmlns:a16="http://schemas.microsoft.com/office/drawing/2014/main" id="{3B27AC73-1E31-43CF-8F39-6FD2EFD4EF61}"/>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8" name="Line 174">
                <a:extLst>
                  <a:ext uri="{FF2B5EF4-FFF2-40B4-BE49-F238E27FC236}">
                    <a16:creationId xmlns:a16="http://schemas.microsoft.com/office/drawing/2014/main" id="{9ED36DAF-926F-4276-8DF6-ACC46CA4D9FA}"/>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9" name="Line 176">
                <a:extLst>
                  <a:ext uri="{FF2B5EF4-FFF2-40B4-BE49-F238E27FC236}">
                    <a16:creationId xmlns:a16="http://schemas.microsoft.com/office/drawing/2014/main" id="{B94541E1-35B6-458E-886D-7326D9985169}"/>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0" name="Line 178">
                <a:extLst>
                  <a:ext uri="{FF2B5EF4-FFF2-40B4-BE49-F238E27FC236}">
                    <a16:creationId xmlns:a16="http://schemas.microsoft.com/office/drawing/2014/main" id="{3F076E14-B6AB-4A0B-B07E-E6FA728C299A}"/>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1" name="Line 180">
                <a:extLst>
                  <a:ext uri="{FF2B5EF4-FFF2-40B4-BE49-F238E27FC236}">
                    <a16:creationId xmlns:a16="http://schemas.microsoft.com/office/drawing/2014/main" id="{17CC6C76-4339-4F2D-A8EE-0F514AD78B09}"/>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2" name="Line 182">
                <a:extLst>
                  <a:ext uri="{FF2B5EF4-FFF2-40B4-BE49-F238E27FC236}">
                    <a16:creationId xmlns:a16="http://schemas.microsoft.com/office/drawing/2014/main" id="{6660A315-DA49-457A-988B-3318EDF36C3A}"/>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3" name="Line 184">
                <a:extLst>
                  <a:ext uri="{FF2B5EF4-FFF2-40B4-BE49-F238E27FC236}">
                    <a16:creationId xmlns:a16="http://schemas.microsoft.com/office/drawing/2014/main" id="{08492DCF-B213-4B26-A5B6-0C00B5F01B78}"/>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4" name="Line 186">
                <a:extLst>
                  <a:ext uri="{FF2B5EF4-FFF2-40B4-BE49-F238E27FC236}">
                    <a16:creationId xmlns:a16="http://schemas.microsoft.com/office/drawing/2014/main" id="{707EE00D-BA16-4680-9748-A2091B8876B1}"/>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5" name="Line 188">
                <a:extLst>
                  <a:ext uri="{FF2B5EF4-FFF2-40B4-BE49-F238E27FC236}">
                    <a16:creationId xmlns:a16="http://schemas.microsoft.com/office/drawing/2014/main" id="{48F61EFB-9FB6-4E14-88BE-55C3DEBE35EA}"/>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6" name="Line 190">
                <a:extLst>
                  <a:ext uri="{FF2B5EF4-FFF2-40B4-BE49-F238E27FC236}">
                    <a16:creationId xmlns:a16="http://schemas.microsoft.com/office/drawing/2014/main" id="{3D0E033B-F15B-4A06-AE7B-268436D28B36}"/>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7" name="Line 192">
                <a:extLst>
                  <a:ext uri="{FF2B5EF4-FFF2-40B4-BE49-F238E27FC236}">
                    <a16:creationId xmlns:a16="http://schemas.microsoft.com/office/drawing/2014/main" id="{68BF6BD9-4368-4145-A422-FBE8EE46E19D}"/>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8" name="Line 194">
                <a:extLst>
                  <a:ext uri="{FF2B5EF4-FFF2-40B4-BE49-F238E27FC236}">
                    <a16:creationId xmlns:a16="http://schemas.microsoft.com/office/drawing/2014/main" id="{4291B233-4EB5-4AD8-BBF4-7C3CE934E245}"/>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9" name="Line 196">
                <a:extLst>
                  <a:ext uri="{FF2B5EF4-FFF2-40B4-BE49-F238E27FC236}">
                    <a16:creationId xmlns:a16="http://schemas.microsoft.com/office/drawing/2014/main" id="{6D1C4B87-7D7F-4D6C-A8A3-B892ABA3A5F1}"/>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0" name="Line 198">
                <a:extLst>
                  <a:ext uri="{FF2B5EF4-FFF2-40B4-BE49-F238E27FC236}">
                    <a16:creationId xmlns:a16="http://schemas.microsoft.com/office/drawing/2014/main" id="{2218D927-FCD2-4A4A-978A-4478563CAC20}"/>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1" name="Line 200">
                <a:extLst>
                  <a:ext uri="{FF2B5EF4-FFF2-40B4-BE49-F238E27FC236}">
                    <a16:creationId xmlns:a16="http://schemas.microsoft.com/office/drawing/2014/main" id="{794989D4-4DCE-467C-995E-4077E9141C75}"/>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2" name="Line 202">
                <a:extLst>
                  <a:ext uri="{FF2B5EF4-FFF2-40B4-BE49-F238E27FC236}">
                    <a16:creationId xmlns:a16="http://schemas.microsoft.com/office/drawing/2014/main" id="{E1843C1C-F13D-4A91-A1B3-A42E596FE9BE}"/>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3" name="Line 204">
                <a:extLst>
                  <a:ext uri="{FF2B5EF4-FFF2-40B4-BE49-F238E27FC236}">
                    <a16:creationId xmlns:a16="http://schemas.microsoft.com/office/drawing/2014/main" id="{4E30EBB2-C59A-425B-B035-869F153895E6}"/>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4" name="Line 206">
                <a:extLst>
                  <a:ext uri="{FF2B5EF4-FFF2-40B4-BE49-F238E27FC236}">
                    <a16:creationId xmlns:a16="http://schemas.microsoft.com/office/drawing/2014/main" id="{E196C358-DAA9-4D53-ABBE-88BEBCF4BD04}"/>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5" name="Line 208">
                <a:extLst>
                  <a:ext uri="{FF2B5EF4-FFF2-40B4-BE49-F238E27FC236}">
                    <a16:creationId xmlns:a16="http://schemas.microsoft.com/office/drawing/2014/main" id="{2E554D47-5A63-48C8-BA82-96AC045F5695}"/>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6" name="Line 210">
                <a:extLst>
                  <a:ext uri="{FF2B5EF4-FFF2-40B4-BE49-F238E27FC236}">
                    <a16:creationId xmlns:a16="http://schemas.microsoft.com/office/drawing/2014/main" id="{3FD88537-1CB7-4D5A-BB81-B7B440CA6192}"/>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7" name="Line 212">
                <a:extLst>
                  <a:ext uri="{FF2B5EF4-FFF2-40B4-BE49-F238E27FC236}">
                    <a16:creationId xmlns:a16="http://schemas.microsoft.com/office/drawing/2014/main" id="{3430CB36-DD20-487F-AADE-8B5338647BAD}"/>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8" name="Line 214">
                <a:extLst>
                  <a:ext uri="{FF2B5EF4-FFF2-40B4-BE49-F238E27FC236}">
                    <a16:creationId xmlns:a16="http://schemas.microsoft.com/office/drawing/2014/main" id="{43BDE1CD-FCF4-4298-95B6-6F475E420B67}"/>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9" name="Line 216">
                <a:extLst>
                  <a:ext uri="{FF2B5EF4-FFF2-40B4-BE49-F238E27FC236}">
                    <a16:creationId xmlns:a16="http://schemas.microsoft.com/office/drawing/2014/main" id="{B760AD48-BC42-4626-8B88-C641DE32526C}"/>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0" name="Line 218">
                <a:extLst>
                  <a:ext uri="{FF2B5EF4-FFF2-40B4-BE49-F238E27FC236}">
                    <a16:creationId xmlns:a16="http://schemas.microsoft.com/office/drawing/2014/main" id="{97B116AF-ECAC-41F8-BBBA-1F09792CC71D}"/>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1" name="Line 220">
                <a:extLst>
                  <a:ext uri="{FF2B5EF4-FFF2-40B4-BE49-F238E27FC236}">
                    <a16:creationId xmlns:a16="http://schemas.microsoft.com/office/drawing/2014/main" id="{9B319E9C-08D3-44F3-9C75-13DF018D0238}"/>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2" name="Line 222">
                <a:extLst>
                  <a:ext uri="{FF2B5EF4-FFF2-40B4-BE49-F238E27FC236}">
                    <a16:creationId xmlns:a16="http://schemas.microsoft.com/office/drawing/2014/main" id="{56805DF1-6CE2-4128-9EDB-C4D6C4755A0B}"/>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3" name="Line 224">
                <a:extLst>
                  <a:ext uri="{FF2B5EF4-FFF2-40B4-BE49-F238E27FC236}">
                    <a16:creationId xmlns:a16="http://schemas.microsoft.com/office/drawing/2014/main" id="{52D3BCFD-ABAE-4FA3-BF52-B8BC97AF5F0A}"/>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4" name="Line 226">
                <a:extLst>
                  <a:ext uri="{FF2B5EF4-FFF2-40B4-BE49-F238E27FC236}">
                    <a16:creationId xmlns:a16="http://schemas.microsoft.com/office/drawing/2014/main" id="{8E869F57-5D47-41E2-876B-BC6B383EE17F}"/>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5" name="Line 228">
                <a:extLst>
                  <a:ext uri="{FF2B5EF4-FFF2-40B4-BE49-F238E27FC236}">
                    <a16:creationId xmlns:a16="http://schemas.microsoft.com/office/drawing/2014/main" id="{D211B250-1E66-4BC6-AA7E-75B588446F1C}"/>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6" name="Line 146">
                <a:extLst>
                  <a:ext uri="{FF2B5EF4-FFF2-40B4-BE49-F238E27FC236}">
                    <a16:creationId xmlns:a16="http://schemas.microsoft.com/office/drawing/2014/main" id="{ADC59C5E-433A-4092-A3C2-1C98A7E739D9}"/>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7" name="Line 204">
                <a:extLst>
                  <a:ext uri="{FF2B5EF4-FFF2-40B4-BE49-F238E27FC236}">
                    <a16:creationId xmlns:a16="http://schemas.microsoft.com/office/drawing/2014/main" id="{76E0D18C-D67C-4325-A081-58754141AE95}"/>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3" name="Group 12">
              <a:extLst>
                <a:ext uri="{FF2B5EF4-FFF2-40B4-BE49-F238E27FC236}">
                  <a16:creationId xmlns:a16="http://schemas.microsoft.com/office/drawing/2014/main" id="{80F3DB85-B38F-4E14-8678-A12B5B59939A}"/>
                </a:ext>
              </a:extLst>
            </p:cNvPr>
            <p:cNvGrpSpPr/>
            <p:nvPr userDrawn="1"/>
          </p:nvGrpSpPr>
          <p:grpSpPr bwMode="gray">
            <a:xfrm>
              <a:off x="0" y="6948152"/>
              <a:ext cx="12192000" cy="232538"/>
              <a:chOff x="0" y="-319423"/>
              <a:chExt cx="12192000" cy="232538"/>
            </a:xfrm>
          </p:grpSpPr>
          <p:sp>
            <p:nvSpPr>
              <p:cNvPr id="40" name="Line 146">
                <a:extLst>
                  <a:ext uri="{FF2B5EF4-FFF2-40B4-BE49-F238E27FC236}">
                    <a16:creationId xmlns:a16="http://schemas.microsoft.com/office/drawing/2014/main" id="{36B7AAE1-0C42-4053-A6EB-D066B72054A4}"/>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1" name="Line 148">
                <a:extLst>
                  <a:ext uri="{FF2B5EF4-FFF2-40B4-BE49-F238E27FC236}">
                    <a16:creationId xmlns:a16="http://schemas.microsoft.com/office/drawing/2014/main" id="{199DF070-A2F0-446D-8A70-B83FE67CC4D1}"/>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2" name="Line 150">
                <a:extLst>
                  <a:ext uri="{FF2B5EF4-FFF2-40B4-BE49-F238E27FC236}">
                    <a16:creationId xmlns:a16="http://schemas.microsoft.com/office/drawing/2014/main" id="{09A09BC4-9FC2-48C9-9B86-1E9F1B3E0681}"/>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3" name="Line 152">
                <a:extLst>
                  <a:ext uri="{FF2B5EF4-FFF2-40B4-BE49-F238E27FC236}">
                    <a16:creationId xmlns:a16="http://schemas.microsoft.com/office/drawing/2014/main" id="{AA54AB5A-6525-403D-88C0-AB88140598E2}"/>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4" name="Line 154">
                <a:extLst>
                  <a:ext uri="{FF2B5EF4-FFF2-40B4-BE49-F238E27FC236}">
                    <a16:creationId xmlns:a16="http://schemas.microsoft.com/office/drawing/2014/main" id="{9F535D5A-FDA1-4C7A-AFC8-BB81916C9526}"/>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5" name="Line 156">
                <a:extLst>
                  <a:ext uri="{FF2B5EF4-FFF2-40B4-BE49-F238E27FC236}">
                    <a16:creationId xmlns:a16="http://schemas.microsoft.com/office/drawing/2014/main" id="{0A500C4E-5D5B-44E2-B671-5F3BE756FA1B}"/>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6" name="Line 158">
                <a:extLst>
                  <a:ext uri="{FF2B5EF4-FFF2-40B4-BE49-F238E27FC236}">
                    <a16:creationId xmlns:a16="http://schemas.microsoft.com/office/drawing/2014/main" id="{8AEDEBBA-A114-439E-BF99-6DDCEC7ADE5F}"/>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7" name="Line 160">
                <a:extLst>
                  <a:ext uri="{FF2B5EF4-FFF2-40B4-BE49-F238E27FC236}">
                    <a16:creationId xmlns:a16="http://schemas.microsoft.com/office/drawing/2014/main" id="{E59125DE-DFF8-43F1-871B-00D53C56103B}"/>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8" name="Line 162">
                <a:extLst>
                  <a:ext uri="{FF2B5EF4-FFF2-40B4-BE49-F238E27FC236}">
                    <a16:creationId xmlns:a16="http://schemas.microsoft.com/office/drawing/2014/main" id="{EC71E1C8-F127-40F7-8507-7403292E0384}"/>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9" name="Line 164">
                <a:extLst>
                  <a:ext uri="{FF2B5EF4-FFF2-40B4-BE49-F238E27FC236}">
                    <a16:creationId xmlns:a16="http://schemas.microsoft.com/office/drawing/2014/main" id="{8512085F-29E9-4640-BB8C-46365562D78A}"/>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0" name="Line 166">
                <a:extLst>
                  <a:ext uri="{FF2B5EF4-FFF2-40B4-BE49-F238E27FC236}">
                    <a16:creationId xmlns:a16="http://schemas.microsoft.com/office/drawing/2014/main" id="{16AEC977-2FC1-4A31-8810-78B59EFE0E2F}"/>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1" name="Line 168">
                <a:extLst>
                  <a:ext uri="{FF2B5EF4-FFF2-40B4-BE49-F238E27FC236}">
                    <a16:creationId xmlns:a16="http://schemas.microsoft.com/office/drawing/2014/main" id="{578C5C29-7DF3-4E41-BA93-1AB3D16730E7}"/>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2" name="Line 170">
                <a:extLst>
                  <a:ext uri="{FF2B5EF4-FFF2-40B4-BE49-F238E27FC236}">
                    <a16:creationId xmlns:a16="http://schemas.microsoft.com/office/drawing/2014/main" id="{88886AAB-8AC7-437F-A4B4-272E79BB5D87}"/>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3" name="Line 172">
                <a:extLst>
                  <a:ext uri="{FF2B5EF4-FFF2-40B4-BE49-F238E27FC236}">
                    <a16:creationId xmlns:a16="http://schemas.microsoft.com/office/drawing/2014/main" id="{D89A5C1A-629F-4703-A7CD-418646F8F6AD}"/>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4" name="Line 174">
                <a:extLst>
                  <a:ext uri="{FF2B5EF4-FFF2-40B4-BE49-F238E27FC236}">
                    <a16:creationId xmlns:a16="http://schemas.microsoft.com/office/drawing/2014/main" id="{FCE4D3D0-1A84-482B-9BFA-F87F5B3AA0CB}"/>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5" name="Line 176">
                <a:extLst>
                  <a:ext uri="{FF2B5EF4-FFF2-40B4-BE49-F238E27FC236}">
                    <a16:creationId xmlns:a16="http://schemas.microsoft.com/office/drawing/2014/main" id="{2DFB6F55-DE35-43AA-97AD-2BF92E4B4426}"/>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6" name="Line 178">
                <a:extLst>
                  <a:ext uri="{FF2B5EF4-FFF2-40B4-BE49-F238E27FC236}">
                    <a16:creationId xmlns:a16="http://schemas.microsoft.com/office/drawing/2014/main" id="{56FC69C6-A15A-4ACD-A2E4-4F23C3FD4775}"/>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7" name="Line 180">
                <a:extLst>
                  <a:ext uri="{FF2B5EF4-FFF2-40B4-BE49-F238E27FC236}">
                    <a16:creationId xmlns:a16="http://schemas.microsoft.com/office/drawing/2014/main" id="{166F7718-C015-46FA-89DB-BE7AF5511FF2}"/>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8" name="Line 182">
                <a:extLst>
                  <a:ext uri="{FF2B5EF4-FFF2-40B4-BE49-F238E27FC236}">
                    <a16:creationId xmlns:a16="http://schemas.microsoft.com/office/drawing/2014/main" id="{5AE4A7B4-FFCA-451E-8427-FEE58E2E7448}"/>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9" name="Line 184">
                <a:extLst>
                  <a:ext uri="{FF2B5EF4-FFF2-40B4-BE49-F238E27FC236}">
                    <a16:creationId xmlns:a16="http://schemas.microsoft.com/office/drawing/2014/main" id="{53530B0A-D0E7-4B3C-8D43-7503581CA354}"/>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0" name="Line 186">
                <a:extLst>
                  <a:ext uri="{FF2B5EF4-FFF2-40B4-BE49-F238E27FC236}">
                    <a16:creationId xmlns:a16="http://schemas.microsoft.com/office/drawing/2014/main" id="{369D2FC5-B907-43C5-BF78-9FD5F9E57ECB}"/>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1" name="Line 188">
                <a:extLst>
                  <a:ext uri="{FF2B5EF4-FFF2-40B4-BE49-F238E27FC236}">
                    <a16:creationId xmlns:a16="http://schemas.microsoft.com/office/drawing/2014/main" id="{7B80EBF7-719B-4227-8D99-4869089BCE40}"/>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2" name="Line 190">
                <a:extLst>
                  <a:ext uri="{FF2B5EF4-FFF2-40B4-BE49-F238E27FC236}">
                    <a16:creationId xmlns:a16="http://schemas.microsoft.com/office/drawing/2014/main" id="{A2638CD3-237C-443B-B186-EEAF2A535FBD}"/>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3" name="Line 192">
                <a:extLst>
                  <a:ext uri="{FF2B5EF4-FFF2-40B4-BE49-F238E27FC236}">
                    <a16:creationId xmlns:a16="http://schemas.microsoft.com/office/drawing/2014/main" id="{1498D676-7763-4715-9643-E20FD3AB08B6}"/>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4" name="Line 194">
                <a:extLst>
                  <a:ext uri="{FF2B5EF4-FFF2-40B4-BE49-F238E27FC236}">
                    <a16:creationId xmlns:a16="http://schemas.microsoft.com/office/drawing/2014/main" id="{82874175-6B82-4D39-9AF1-8BA670CE982E}"/>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5" name="Line 196">
                <a:extLst>
                  <a:ext uri="{FF2B5EF4-FFF2-40B4-BE49-F238E27FC236}">
                    <a16:creationId xmlns:a16="http://schemas.microsoft.com/office/drawing/2014/main" id="{15AA7E37-503F-4680-897D-E2718FED870D}"/>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6" name="Line 198">
                <a:extLst>
                  <a:ext uri="{FF2B5EF4-FFF2-40B4-BE49-F238E27FC236}">
                    <a16:creationId xmlns:a16="http://schemas.microsoft.com/office/drawing/2014/main" id="{2BCA7CDE-39AA-4250-9E7D-B33A206A3227}"/>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7" name="Line 200">
                <a:extLst>
                  <a:ext uri="{FF2B5EF4-FFF2-40B4-BE49-F238E27FC236}">
                    <a16:creationId xmlns:a16="http://schemas.microsoft.com/office/drawing/2014/main" id="{E051EE80-E767-4ED1-ADBF-3F88BD5A030F}"/>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8" name="Line 202">
                <a:extLst>
                  <a:ext uri="{FF2B5EF4-FFF2-40B4-BE49-F238E27FC236}">
                    <a16:creationId xmlns:a16="http://schemas.microsoft.com/office/drawing/2014/main" id="{EDE86BC0-4A04-4E82-867E-8AE6129491D6}"/>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9" name="Line 204">
                <a:extLst>
                  <a:ext uri="{FF2B5EF4-FFF2-40B4-BE49-F238E27FC236}">
                    <a16:creationId xmlns:a16="http://schemas.microsoft.com/office/drawing/2014/main" id="{1B8F881E-CF43-4DE0-8083-836762CD704A}"/>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0" name="Line 206">
                <a:extLst>
                  <a:ext uri="{FF2B5EF4-FFF2-40B4-BE49-F238E27FC236}">
                    <a16:creationId xmlns:a16="http://schemas.microsoft.com/office/drawing/2014/main" id="{9D25848A-9628-459A-B329-FECEEE852595}"/>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1" name="Line 208">
                <a:extLst>
                  <a:ext uri="{FF2B5EF4-FFF2-40B4-BE49-F238E27FC236}">
                    <a16:creationId xmlns:a16="http://schemas.microsoft.com/office/drawing/2014/main" id="{A7BE8304-5FB4-4881-9042-E98F5112D4B5}"/>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2" name="Line 210">
                <a:extLst>
                  <a:ext uri="{FF2B5EF4-FFF2-40B4-BE49-F238E27FC236}">
                    <a16:creationId xmlns:a16="http://schemas.microsoft.com/office/drawing/2014/main" id="{4B622D8E-7C94-4D75-B282-98B32FAE10A6}"/>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3" name="Line 212">
                <a:extLst>
                  <a:ext uri="{FF2B5EF4-FFF2-40B4-BE49-F238E27FC236}">
                    <a16:creationId xmlns:a16="http://schemas.microsoft.com/office/drawing/2014/main" id="{E1B969EC-7152-4CBB-81FC-5C9AB736041F}"/>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4" name="Line 214">
                <a:extLst>
                  <a:ext uri="{FF2B5EF4-FFF2-40B4-BE49-F238E27FC236}">
                    <a16:creationId xmlns:a16="http://schemas.microsoft.com/office/drawing/2014/main" id="{2024DC70-2F23-40A9-8302-E425F548BB5D}"/>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5" name="Line 216">
                <a:extLst>
                  <a:ext uri="{FF2B5EF4-FFF2-40B4-BE49-F238E27FC236}">
                    <a16:creationId xmlns:a16="http://schemas.microsoft.com/office/drawing/2014/main" id="{F0EDFE13-ED0E-4637-BE6B-81724527D445}"/>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6" name="Line 218">
                <a:extLst>
                  <a:ext uri="{FF2B5EF4-FFF2-40B4-BE49-F238E27FC236}">
                    <a16:creationId xmlns:a16="http://schemas.microsoft.com/office/drawing/2014/main" id="{782E4CBE-8F03-434E-AF17-AA34C570DBA6}"/>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7" name="Line 220">
                <a:extLst>
                  <a:ext uri="{FF2B5EF4-FFF2-40B4-BE49-F238E27FC236}">
                    <a16:creationId xmlns:a16="http://schemas.microsoft.com/office/drawing/2014/main" id="{3E38E435-BF57-44DB-B04F-2A90FB3CAA07}"/>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8" name="Line 222">
                <a:extLst>
                  <a:ext uri="{FF2B5EF4-FFF2-40B4-BE49-F238E27FC236}">
                    <a16:creationId xmlns:a16="http://schemas.microsoft.com/office/drawing/2014/main" id="{30ADE9FB-CBAF-47C0-B938-E3E994BFCEE0}"/>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9" name="Line 224">
                <a:extLst>
                  <a:ext uri="{FF2B5EF4-FFF2-40B4-BE49-F238E27FC236}">
                    <a16:creationId xmlns:a16="http://schemas.microsoft.com/office/drawing/2014/main" id="{B98ECBC9-AA3A-46CE-BAFB-CEEF6EC86123}"/>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0" name="Line 226">
                <a:extLst>
                  <a:ext uri="{FF2B5EF4-FFF2-40B4-BE49-F238E27FC236}">
                    <a16:creationId xmlns:a16="http://schemas.microsoft.com/office/drawing/2014/main" id="{9D9801BA-79AF-4A3A-A791-EA215220D0AD}"/>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1" name="Line 228">
                <a:extLst>
                  <a:ext uri="{FF2B5EF4-FFF2-40B4-BE49-F238E27FC236}">
                    <a16:creationId xmlns:a16="http://schemas.microsoft.com/office/drawing/2014/main" id="{A6E31887-B482-427B-B66D-5A9A7A513830}"/>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Line 146">
                <a:extLst>
                  <a:ext uri="{FF2B5EF4-FFF2-40B4-BE49-F238E27FC236}">
                    <a16:creationId xmlns:a16="http://schemas.microsoft.com/office/drawing/2014/main" id="{7F049F3D-CDDD-424C-8F1A-B1CD08AD224D}"/>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3" name="Line 204">
                <a:extLst>
                  <a:ext uri="{FF2B5EF4-FFF2-40B4-BE49-F238E27FC236}">
                    <a16:creationId xmlns:a16="http://schemas.microsoft.com/office/drawing/2014/main" id="{51038B7D-C3E4-4B81-88D0-C80A1F1730BA}"/>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4" name="Group 13">
              <a:extLst>
                <a:ext uri="{FF2B5EF4-FFF2-40B4-BE49-F238E27FC236}">
                  <a16:creationId xmlns:a16="http://schemas.microsoft.com/office/drawing/2014/main" id="{7DF6A5F4-77EE-4651-8EB2-95CA239E498A}"/>
                </a:ext>
              </a:extLst>
            </p:cNvPr>
            <p:cNvGrpSpPr/>
            <p:nvPr userDrawn="1"/>
          </p:nvGrpSpPr>
          <p:grpSpPr bwMode="gray">
            <a:xfrm>
              <a:off x="12276481" y="0"/>
              <a:ext cx="240289" cy="6858000"/>
              <a:chOff x="-319714" y="0"/>
              <a:chExt cx="240289" cy="6858000"/>
            </a:xfrm>
          </p:grpSpPr>
          <p:sp>
            <p:nvSpPr>
              <p:cNvPr id="15" name="Line 230">
                <a:extLst>
                  <a:ext uri="{FF2B5EF4-FFF2-40B4-BE49-F238E27FC236}">
                    <a16:creationId xmlns:a16="http://schemas.microsoft.com/office/drawing/2014/main" id="{E1A05490-C735-4276-B4D0-607C433DF9B2}"/>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 name="Line 232">
                <a:extLst>
                  <a:ext uri="{FF2B5EF4-FFF2-40B4-BE49-F238E27FC236}">
                    <a16:creationId xmlns:a16="http://schemas.microsoft.com/office/drawing/2014/main" id="{409780CC-C6EA-4AC9-9D69-392CD831D8E5}"/>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 name="Line 234">
                <a:extLst>
                  <a:ext uri="{FF2B5EF4-FFF2-40B4-BE49-F238E27FC236}">
                    <a16:creationId xmlns:a16="http://schemas.microsoft.com/office/drawing/2014/main" id="{08044627-72FD-4FBE-BDB9-F960506DE3AB}"/>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8" name="Line 236">
                <a:extLst>
                  <a:ext uri="{FF2B5EF4-FFF2-40B4-BE49-F238E27FC236}">
                    <a16:creationId xmlns:a16="http://schemas.microsoft.com/office/drawing/2014/main" id="{DC2EEE1B-96FA-42B2-9AF5-8EFF0EB249BC}"/>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 name="Line 238">
                <a:extLst>
                  <a:ext uri="{FF2B5EF4-FFF2-40B4-BE49-F238E27FC236}">
                    <a16:creationId xmlns:a16="http://schemas.microsoft.com/office/drawing/2014/main" id="{87C933F1-9A32-47CD-BD54-77460354CEBA}"/>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 name="Line 240">
                <a:extLst>
                  <a:ext uri="{FF2B5EF4-FFF2-40B4-BE49-F238E27FC236}">
                    <a16:creationId xmlns:a16="http://schemas.microsoft.com/office/drawing/2014/main" id="{A9693FAC-3958-4AA1-AD63-B359FFAF0510}"/>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 name="Line 244">
                <a:extLst>
                  <a:ext uri="{FF2B5EF4-FFF2-40B4-BE49-F238E27FC236}">
                    <a16:creationId xmlns:a16="http://schemas.microsoft.com/office/drawing/2014/main" id="{D22DAFAF-9DA4-4548-9440-270AC7B32430}"/>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 name="Line 246">
                <a:extLst>
                  <a:ext uri="{FF2B5EF4-FFF2-40B4-BE49-F238E27FC236}">
                    <a16:creationId xmlns:a16="http://schemas.microsoft.com/office/drawing/2014/main" id="{635F430A-14FE-4F8E-AA19-AC00549FF879}"/>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50">
                <a:extLst>
                  <a:ext uri="{FF2B5EF4-FFF2-40B4-BE49-F238E27FC236}">
                    <a16:creationId xmlns:a16="http://schemas.microsoft.com/office/drawing/2014/main" id="{36F968CE-1ED8-440E-9F99-F8F6E58B9311}"/>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52">
                <a:extLst>
                  <a:ext uri="{FF2B5EF4-FFF2-40B4-BE49-F238E27FC236}">
                    <a16:creationId xmlns:a16="http://schemas.microsoft.com/office/drawing/2014/main" id="{8060FEC4-175E-42B8-AE20-D061341754FF}"/>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 name="Line 254">
                <a:extLst>
                  <a:ext uri="{FF2B5EF4-FFF2-40B4-BE49-F238E27FC236}">
                    <a16:creationId xmlns:a16="http://schemas.microsoft.com/office/drawing/2014/main" id="{666E6EE8-192D-4652-B02F-4BA06C55D0E1}"/>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 name="Line 256">
                <a:extLst>
                  <a:ext uri="{FF2B5EF4-FFF2-40B4-BE49-F238E27FC236}">
                    <a16:creationId xmlns:a16="http://schemas.microsoft.com/office/drawing/2014/main" id="{62A470B2-FFA5-40A5-A1C6-654922E49929}"/>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 name="Line 258">
                <a:extLst>
                  <a:ext uri="{FF2B5EF4-FFF2-40B4-BE49-F238E27FC236}">
                    <a16:creationId xmlns:a16="http://schemas.microsoft.com/office/drawing/2014/main" id="{8C690868-7AA4-425F-B9A3-B7BA6F5487B4}"/>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 name="Line 260">
                <a:extLst>
                  <a:ext uri="{FF2B5EF4-FFF2-40B4-BE49-F238E27FC236}">
                    <a16:creationId xmlns:a16="http://schemas.microsoft.com/office/drawing/2014/main" id="{E26FABBE-6AB1-448A-98DF-C7FD4EE5C47F}"/>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 name="Line 262">
                <a:extLst>
                  <a:ext uri="{FF2B5EF4-FFF2-40B4-BE49-F238E27FC236}">
                    <a16:creationId xmlns:a16="http://schemas.microsoft.com/office/drawing/2014/main" id="{6C4F99EC-64CD-4C76-8C15-3B1785E07FBC}"/>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0" name="Line 264">
                <a:extLst>
                  <a:ext uri="{FF2B5EF4-FFF2-40B4-BE49-F238E27FC236}">
                    <a16:creationId xmlns:a16="http://schemas.microsoft.com/office/drawing/2014/main" id="{1C064284-3840-4E12-A063-59F6E407B9AF}"/>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1" name="Line 266">
                <a:extLst>
                  <a:ext uri="{FF2B5EF4-FFF2-40B4-BE49-F238E27FC236}">
                    <a16:creationId xmlns:a16="http://schemas.microsoft.com/office/drawing/2014/main" id="{DB5203A4-EA1E-473E-80F6-51089409E578}"/>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2" name="Line 268">
                <a:extLst>
                  <a:ext uri="{FF2B5EF4-FFF2-40B4-BE49-F238E27FC236}">
                    <a16:creationId xmlns:a16="http://schemas.microsoft.com/office/drawing/2014/main" id="{A6B3E33F-364C-41CD-8391-5993F86601C9}"/>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3" name="Line 270">
                <a:extLst>
                  <a:ext uri="{FF2B5EF4-FFF2-40B4-BE49-F238E27FC236}">
                    <a16:creationId xmlns:a16="http://schemas.microsoft.com/office/drawing/2014/main" id="{BE4D4BD7-4814-4901-96C8-F9C9BFC096C2}"/>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4" name="Line 272">
                <a:extLst>
                  <a:ext uri="{FF2B5EF4-FFF2-40B4-BE49-F238E27FC236}">
                    <a16:creationId xmlns:a16="http://schemas.microsoft.com/office/drawing/2014/main" id="{3560E258-F0E6-4A97-A088-6DB1D740BCF6}"/>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5" name="Line 274">
                <a:extLst>
                  <a:ext uri="{FF2B5EF4-FFF2-40B4-BE49-F238E27FC236}">
                    <a16:creationId xmlns:a16="http://schemas.microsoft.com/office/drawing/2014/main" id="{0C1FE2C4-210F-410B-956D-2634FFA6CB0F}"/>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6" name="Line 276">
                <a:extLst>
                  <a:ext uri="{FF2B5EF4-FFF2-40B4-BE49-F238E27FC236}">
                    <a16:creationId xmlns:a16="http://schemas.microsoft.com/office/drawing/2014/main" id="{E4EB76AB-1AAA-48C4-AAEE-56AF966BADC4}"/>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7" name="Line 278">
                <a:extLst>
                  <a:ext uri="{FF2B5EF4-FFF2-40B4-BE49-F238E27FC236}">
                    <a16:creationId xmlns:a16="http://schemas.microsoft.com/office/drawing/2014/main" id="{E05DD6FE-E2BB-4BF2-9C65-228D9CD052DF}"/>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8" name="Line 256">
                <a:extLst>
                  <a:ext uri="{FF2B5EF4-FFF2-40B4-BE49-F238E27FC236}">
                    <a16:creationId xmlns:a16="http://schemas.microsoft.com/office/drawing/2014/main" id="{7BAE45AE-F105-4035-B390-BA1772490547}"/>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9" name="Line 234">
                <a:extLst>
                  <a:ext uri="{FF2B5EF4-FFF2-40B4-BE49-F238E27FC236}">
                    <a16:creationId xmlns:a16="http://schemas.microsoft.com/office/drawing/2014/main" id="{744AE21A-E58B-4C43-8D71-13D377DECB1E}"/>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3" name="Content Placeholder 2">
            <a:extLst>
              <a:ext uri="{FF2B5EF4-FFF2-40B4-BE49-F238E27FC236}">
                <a16:creationId xmlns:a16="http://schemas.microsoft.com/office/drawing/2014/main" id="{DC389B5C-A374-46FA-89AC-805B0EEC7969}"/>
              </a:ext>
            </a:extLst>
          </p:cNvPr>
          <p:cNvSpPr>
            <a:spLocks noGrp="1"/>
          </p:cNvSpPr>
          <p:nvPr>
            <p:ph idx="1" hasCustomPrompt="1"/>
          </p:nvPr>
        </p:nvSpPr>
        <p:spPr bwMode="black">
          <a:xfrm>
            <a:off x="571500" y="1531939"/>
            <a:ext cx="11048400" cy="4564800"/>
          </a:xfrm>
          <a:prstGeom prst="rect">
            <a:avLst/>
          </a:prstGeom>
        </p:spPr>
        <p:txBody>
          <a:bodyPr/>
          <a:lstStyle>
            <a:lvl1pPr marL="0" indent="0">
              <a:buNone/>
              <a:defRPr>
                <a:solidFill>
                  <a:schemeClr val="bg1"/>
                </a:solidFill>
              </a:defRPr>
            </a:lvl1pPr>
            <a:lvl2pPr marL="180000">
              <a:buClr>
                <a:schemeClr val="bg1"/>
              </a:buCl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Niveau</a:t>
            </a:r>
            <a:r>
              <a:rPr lang="en-US" dirty="0"/>
              <a:t> 1</a:t>
            </a:r>
          </a:p>
          <a:p>
            <a:pPr lvl="1"/>
            <a:r>
              <a:rPr lang="en-US" dirty="0" err="1"/>
              <a:t>Niveau</a:t>
            </a:r>
            <a:r>
              <a:rPr lang="en-US" dirty="0"/>
              <a:t> 2</a:t>
            </a:r>
          </a:p>
        </p:txBody>
      </p:sp>
      <p:sp>
        <p:nvSpPr>
          <p:cNvPr id="153" name="Footer Placeholder 152">
            <a:extLst>
              <a:ext uri="{FF2B5EF4-FFF2-40B4-BE49-F238E27FC236}">
                <a16:creationId xmlns:a16="http://schemas.microsoft.com/office/drawing/2014/main" id="{33E7FA54-C741-4041-BA21-D12D615F8597}"/>
              </a:ext>
            </a:extLst>
          </p:cNvPr>
          <p:cNvSpPr>
            <a:spLocks noGrp="1"/>
          </p:cNvSpPr>
          <p:nvPr>
            <p:ph type="ftr" sz="quarter" idx="10"/>
          </p:nvPr>
        </p:nvSpPr>
        <p:spPr bwMode="black"/>
        <p:txBody>
          <a:bodyPr/>
          <a:lstStyle>
            <a:lvl1pPr>
              <a:defRPr>
                <a:solidFill>
                  <a:schemeClr val="bg1"/>
                </a:solidFill>
              </a:defRPr>
            </a:lvl1pPr>
          </a:lstStyle>
          <a:p>
            <a:r>
              <a:rPr lang="nl-NL"/>
              <a:t>Behoefte functionele migratie SMZ</a:t>
            </a:r>
            <a:endParaRPr lang="en-GB" dirty="0"/>
          </a:p>
        </p:txBody>
      </p:sp>
      <p:sp>
        <p:nvSpPr>
          <p:cNvPr id="154" name="Slide Number Placeholder 153">
            <a:extLst>
              <a:ext uri="{FF2B5EF4-FFF2-40B4-BE49-F238E27FC236}">
                <a16:creationId xmlns:a16="http://schemas.microsoft.com/office/drawing/2014/main" id="{AA93773E-9A1C-4054-84D7-809EADD7E125}"/>
              </a:ext>
            </a:extLst>
          </p:cNvPr>
          <p:cNvSpPr>
            <a:spLocks noGrp="1"/>
          </p:cNvSpPr>
          <p:nvPr>
            <p:ph type="sldNum" sz="quarter" idx="11"/>
          </p:nvPr>
        </p:nvSpPr>
        <p:spPr bwMode="black"/>
        <p:txBody>
          <a:bodyPr/>
          <a:lstStyle>
            <a:lvl1pPr>
              <a:defRPr>
                <a:solidFill>
                  <a:schemeClr val="bg1"/>
                </a:solidFill>
              </a:defRPr>
            </a:lvl1pPr>
          </a:lstStyle>
          <a:p>
            <a:fld id="{EEC0F82C-4994-47DA-8D9B-99D78D224F6D}" type="slidenum">
              <a:rPr lang="en-GB" smtClean="0"/>
              <a:pPr/>
              <a:t>‹nr.›</a:t>
            </a:fld>
            <a:endParaRPr lang="en-GB" dirty="0"/>
          </a:p>
        </p:txBody>
      </p:sp>
      <p:sp>
        <p:nvSpPr>
          <p:cNvPr id="156" name="Text Placeholder 3">
            <a:extLst>
              <a:ext uri="{FF2B5EF4-FFF2-40B4-BE49-F238E27FC236}">
                <a16:creationId xmlns:a16="http://schemas.microsoft.com/office/drawing/2014/main" id="{A2864367-333A-4CE1-9544-A372F07C2FB5}"/>
              </a:ext>
            </a:extLst>
          </p:cNvPr>
          <p:cNvSpPr txBox="1">
            <a:spLocks/>
          </p:cNvSpPr>
          <p:nvPr userDrawn="1"/>
        </p:nvSpPr>
        <p:spPr bwMode="gray">
          <a:xfrm>
            <a:off x="11047668" y="6285600"/>
            <a:ext cx="572400" cy="572400"/>
          </a:xfrm>
          <a:prstGeom prst="rect">
            <a:avLst/>
          </a:prstGeom>
          <a:blipFill>
            <a:blip r:embed="rId2"/>
            <a:stretch>
              <a:fillRect/>
            </a:stretch>
          </a:blipFill>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
        <p:nvSpPr>
          <p:cNvPr id="2" name="Title 1">
            <a:extLst>
              <a:ext uri="{FF2B5EF4-FFF2-40B4-BE49-F238E27FC236}">
                <a16:creationId xmlns:a16="http://schemas.microsoft.com/office/drawing/2014/main" id="{00354CD4-FCCB-4E27-B842-1C25A4561DFA}"/>
              </a:ext>
            </a:extLst>
          </p:cNvPr>
          <p:cNvSpPr>
            <a:spLocks noGrp="1"/>
          </p:cNvSpPr>
          <p:nvPr>
            <p:ph type="title" hasCustomPrompt="1"/>
          </p:nvPr>
        </p:nvSpPr>
        <p:spPr bwMode="black">
          <a:xfrm>
            <a:off x="571500" y="285752"/>
            <a:ext cx="11049000" cy="1238248"/>
          </a:xfrm>
        </p:spPr>
        <p:txBody>
          <a:bodyPr/>
          <a:lstStyle>
            <a:lvl1pPr>
              <a:defRPr>
                <a:solidFill>
                  <a:schemeClr val="bg1"/>
                </a:solidFill>
              </a:defRPr>
            </a:lvl1pPr>
          </a:lstStyle>
          <a:p>
            <a:r>
              <a:rPr lang="nl-NL" dirty="0"/>
              <a:t>Klik om de titel aan te passen</a:t>
            </a:r>
          </a:p>
        </p:txBody>
      </p:sp>
    </p:spTree>
    <p:extLst>
      <p:ext uri="{BB962C8B-B14F-4D97-AF65-F5344CB8AC3E}">
        <p14:creationId xmlns:p14="http://schemas.microsoft.com/office/powerpoint/2010/main" val="11269092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dia 02">
    <p:bg bwMode="gray">
      <p:bgPr>
        <a:solidFill>
          <a:srgbClr val="B9E2FF"/>
        </a:solidFill>
        <a:effectLst/>
      </p:bgPr>
    </p:bg>
    <p:spTree>
      <p:nvGrpSpPr>
        <p:cNvPr id="1" name=""/>
        <p:cNvGrpSpPr/>
        <p:nvPr/>
      </p:nvGrpSpPr>
      <p:grpSpPr>
        <a:xfrm>
          <a:off x="0" y="0"/>
          <a:ext cx="0" cy="0"/>
          <a:chOff x="0" y="0"/>
          <a:chExt cx="0" cy="0"/>
        </a:xfrm>
      </p:grpSpPr>
      <p:sp>
        <p:nvSpPr>
          <p:cNvPr id="156" name="Rectangle 155">
            <a:extLst>
              <a:ext uri="{FF2B5EF4-FFF2-40B4-BE49-F238E27FC236}">
                <a16:creationId xmlns:a16="http://schemas.microsoft.com/office/drawing/2014/main" id="{73D3E045-F948-481C-9B2D-C1AD6A87C512}"/>
              </a:ext>
            </a:extLst>
          </p:cNvPr>
          <p:cNvSpPr/>
          <p:nvPr userDrawn="1"/>
        </p:nvSpPr>
        <p:spPr bwMode="gray">
          <a:xfrm>
            <a:off x="-3714750" y="-933450"/>
            <a:ext cx="19621500" cy="87249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9" name="Group 8">
            <a:extLst>
              <a:ext uri="{FF2B5EF4-FFF2-40B4-BE49-F238E27FC236}">
                <a16:creationId xmlns:a16="http://schemas.microsoft.com/office/drawing/2014/main" id="{EE167523-15D8-45DF-987B-5EAB7CD533E3}"/>
              </a:ext>
            </a:extLst>
          </p:cNvPr>
          <p:cNvGrpSpPr/>
          <p:nvPr userDrawn="1"/>
        </p:nvGrpSpPr>
        <p:grpSpPr bwMode="gray">
          <a:xfrm>
            <a:off x="-329239" y="-319423"/>
            <a:ext cx="12846009" cy="7500113"/>
            <a:chOff x="-329239" y="-319423"/>
            <a:chExt cx="12846009" cy="7500113"/>
          </a:xfrm>
        </p:grpSpPr>
        <p:grpSp>
          <p:nvGrpSpPr>
            <p:cNvPr id="10" name="Group 9">
              <a:extLst>
                <a:ext uri="{FF2B5EF4-FFF2-40B4-BE49-F238E27FC236}">
                  <a16:creationId xmlns:a16="http://schemas.microsoft.com/office/drawing/2014/main" id="{96F2AD05-35A7-4336-AEC1-CD85A27DAADF}"/>
                </a:ext>
              </a:extLst>
            </p:cNvPr>
            <p:cNvGrpSpPr/>
            <p:nvPr userDrawn="1"/>
          </p:nvGrpSpPr>
          <p:grpSpPr bwMode="gray">
            <a:xfrm>
              <a:off x="-329239" y="0"/>
              <a:ext cx="240289" cy="6858000"/>
              <a:chOff x="-319714" y="0"/>
              <a:chExt cx="240289" cy="6858000"/>
            </a:xfrm>
          </p:grpSpPr>
          <p:sp>
            <p:nvSpPr>
              <p:cNvPr id="128" name="Line 230">
                <a:extLst>
                  <a:ext uri="{FF2B5EF4-FFF2-40B4-BE49-F238E27FC236}">
                    <a16:creationId xmlns:a16="http://schemas.microsoft.com/office/drawing/2014/main" id="{23359A11-D99E-4186-88D0-5E242D030A55}"/>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9" name="Line 232">
                <a:extLst>
                  <a:ext uri="{FF2B5EF4-FFF2-40B4-BE49-F238E27FC236}">
                    <a16:creationId xmlns:a16="http://schemas.microsoft.com/office/drawing/2014/main" id="{CEC8A57E-D167-4DA4-BF13-4DA79D5296B9}"/>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0" name="Line 234">
                <a:extLst>
                  <a:ext uri="{FF2B5EF4-FFF2-40B4-BE49-F238E27FC236}">
                    <a16:creationId xmlns:a16="http://schemas.microsoft.com/office/drawing/2014/main" id="{19201F1B-4CFD-4292-AA47-02DFA70A24F3}"/>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31" name="Line 236">
                <a:extLst>
                  <a:ext uri="{FF2B5EF4-FFF2-40B4-BE49-F238E27FC236}">
                    <a16:creationId xmlns:a16="http://schemas.microsoft.com/office/drawing/2014/main" id="{CA47D2B9-8299-43ED-BC12-67BAA28D4BE9}"/>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2" name="Line 238">
                <a:extLst>
                  <a:ext uri="{FF2B5EF4-FFF2-40B4-BE49-F238E27FC236}">
                    <a16:creationId xmlns:a16="http://schemas.microsoft.com/office/drawing/2014/main" id="{FB44449B-0268-4D62-BD09-F7239FA02BCD}"/>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3" name="Line 240">
                <a:extLst>
                  <a:ext uri="{FF2B5EF4-FFF2-40B4-BE49-F238E27FC236}">
                    <a16:creationId xmlns:a16="http://schemas.microsoft.com/office/drawing/2014/main" id="{1D5A8F6D-E47E-499E-B0E6-F3DBE2C38BD5}"/>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4" name="Line 244">
                <a:extLst>
                  <a:ext uri="{FF2B5EF4-FFF2-40B4-BE49-F238E27FC236}">
                    <a16:creationId xmlns:a16="http://schemas.microsoft.com/office/drawing/2014/main" id="{043C99DB-D0F4-4846-92A1-E13A9201E91E}"/>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5" name="Line 246">
                <a:extLst>
                  <a:ext uri="{FF2B5EF4-FFF2-40B4-BE49-F238E27FC236}">
                    <a16:creationId xmlns:a16="http://schemas.microsoft.com/office/drawing/2014/main" id="{EF1E2691-997D-4549-BA5C-1B3056D109BC}"/>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6" name="Line 250">
                <a:extLst>
                  <a:ext uri="{FF2B5EF4-FFF2-40B4-BE49-F238E27FC236}">
                    <a16:creationId xmlns:a16="http://schemas.microsoft.com/office/drawing/2014/main" id="{227CDAF2-5355-4991-B462-11626F23B911}"/>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7" name="Line 252">
                <a:extLst>
                  <a:ext uri="{FF2B5EF4-FFF2-40B4-BE49-F238E27FC236}">
                    <a16:creationId xmlns:a16="http://schemas.microsoft.com/office/drawing/2014/main" id="{72048E59-E8FC-4CCC-AC5D-367009C9B9C2}"/>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8" name="Line 254">
                <a:extLst>
                  <a:ext uri="{FF2B5EF4-FFF2-40B4-BE49-F238E27FC236}">
                    <a16:creationId xmlns:a16="http://schemas.microsoft.com/office/drawing/2014/main" id="{ABA113C2-AAA8-4F52-A808-635C4EF22DD7}"/>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39" name="Line 256">
                <a:extLst>
                  <a:ext uri="{FF2B5EF4-FFF2-40B4-BE49-F238E27FC236}">
                    <a16:creationId xmlns:a16="http://schemas.microsoft.com/office/drawing/2014/main" id="{3BCB82C4-E9B8-4539-8D77-3419B0D12883}"/>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0" name="Line 258">
                <a:extLst>
                  <a:ext uri="{FF2B5EF4-FFF2-40B4-BE49-F238E27FC236}">
                    <a16:creationId xmlns:a16="http://schemas.microsoft.com/office/drawing/2014/main" id="{CA7D3FBA-55FE-4ED3-B4CC-A9A7EFB21BDB}"/>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1" name="Line 260">
                <a:extLst>
                  <a:ext uri="{FF2B5EF4-FFF2-40B4-BE49-F238E27FC236}">
                    <a16:creationId xmlns:a16="http://schemas.microsoft.com/office/drawing/2014/main" id="{1183BB63-6E47-49DE-ADF7-2765B7A4A1B4}"/>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2" name="Line 262">
                <a:extLst>
                  <a:ext uri="{FF2B5EF4-FFF2-40B4-BE49-F238E27FC236}">
                    <a16:creationId xmlns:a16="http://schemas.microsoft.com/office/drawing/2014/main" id="{43D3966A-4774-4E7F-B512-1600E6914631}"/>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3" name="Line 264">
                <a:extLst>
                  <a:ext uri="{FF2B5EF4-FFF2-40B4-BE49-F238E27FC236}">
                    <a16:creationId xmlns:a16="http://schemas.microsoft.com/office/drawing/2014/main" id="{F40C2D75-9BD9-4F67-B35F-F514A7FECDFD}"/>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4" name="Line 266">
                <a:extLst>
                  <a:ext uri="{FF2B5EF4-FFF2-40B4-BE49-F238E27FC236}">
                    <a16:creationId xmlns:a16="http://schemas.microsoft.com/office/drawing/2014/main" id="{2AB8BBB5-0B46-4680-97D4-E36E9504C92D}"/>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5" name="Line 268">
                <a:extLst>
                  <a:ext uri="{FF2B5EF4-FFF2-40B4-BE49-F238E27FC236}">
                    <a16:creationId xmlns:a16="http://schemas.microsoft.com/office/drawing/2014/main" id="{2EA25B26-822E-41AA-BB0C-285F684B6781}"/>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6" name="Line 270">
                <a:extLst>
                  <a:ext uri="{FF2B5EF4-FFF2-40B4-BE49-F238E27FC236}">
                    <a16:creationId xmlns:a16="http://schemas.microsoft.com/office/drawing/2014/main" id="{913DA6D4-14E6-48DE-AAFF-14CD4DB509C6}"/>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7" name="Line 272">
                <a:extLst>
                  <a:ext uri="{FF2B5EF4-FFF2-40B4-BE49-F238E27FC236}">
                    <a16:creationId xmlns:a16="http://schemas.microsoft.com/office/drawing/2014/main" id="{2824BD00-E4F6-4FF7-8EBB-D321FCF60F71}"/>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8" name="Line 274">
                <a:extLst>
                  <a:ext uri="{FF2B5EF4-FFF2-40B4-BE49-F238E27FC236}">
                    <a16:creationId xmlns:a16="http://schemas.microsoft.com/office/drawing/2014/main" id="{8C76C5B5-334E-4F8B-88BB-D282853CB496}"/>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49" name="Line 276">
                <a:extLst>
                  <a:ext uri="{FF2B5EF4-FFF2-40B4-BE49-F238E27FC236}">
                    <a16:creationId xmlns:a16="http://schemas.microsoft.com/office/drawing/2014/main" id="{C4D12AB0-491D-4407-802D-597203A1B289}"/>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0" name="Line 278">
                <a:extLst>
                  <a:ext uri="{FF2B5EF4-FFF2-40B4-BE49-F238E27FC236}">
                    <a16:creationId xmlns:a16="http://schemas.microsoft.com/office/drawing/2014/main" id="{994B7634-E0BE-450E-B442-EAA80434EF4B}"/>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1" name="Line 256">
                <a:extLst>
                  <a:ext uri="{FF2B5EF4-FFF2-40B4-BE49-F238E27FC236}">
                    <a16:creationId xmlns:a16="http://schemas.microsoft.com/office/drawing/2014/main" id="{8F92D4AD-A56E-4286-A320-1DB070BAA68B}"/>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2" name="Line 234">
                <a:extLst>
                  <a:ext uri="{FF2B5EF4-FFF2-40B4-BE49-F238E27FC236}">
                    <a16:creationId xmlns:a16="http://schemas.microsoft.com/office/drawing/2014/main" id="{0B64636F-A83C-481E-AE6F-1CBABCA5A0B8}"/>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12" name="Group 11">
              <a:extLst>
                <a:ext uri="{FF2B5EF4-FFF2-40B4-BE49-F238E27FC236}">
                  <a16:creationId xmlns:a16="http://schemas.microsoft.com/office/drawing/2014/main" id="{AED19570-D906-449F-9AD5-42F9BC0FADE6}"/>
                </a:ext>
              </a:extLst>
            </p:cNvPr>
            <p:cNvGrpSpPr/>
            <p:nvPr userDrawn="1"/>
          </p:nvGrpSpPr>
          <p:grpSpPr bwMode="gray">
            <a:xfrm>
              <a:off x="0" y="-319423"/>
              <a:ext cx="12192000" cy="232538"/>
              <a:chOff x="0" y="-319423"/>
              <a:chExt cx="12192000" cy="232538"/>
            </a:xfrm>
          </p:grpSpPr>
          <p:sp>
            <p:nvSpPr>
              <p:cNvPr id="84" name="Line 146">
                <a:extLst>
                  <a:ext uri="{FF2B5EF4-FFF2-40B4-BE49-F238E27FC236}">
                    <a16:creationId xmlns:a16="http://schemas.microsoft.com/office/drawing/2014/main" id="{A0651690-E6C1-4275-8332-0C6FB8BEFB61}"/>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5" name="Line 148">
                <a:extLst>
                  <a:ext uri="{FF2B5EF4-FFF2-40B4-BE49-F238E27FC236}">
                    <a16:creationId xmlns:a16="http://schemas.microsoft.com/office/drawing/2014/main" id="{3C41A501-F9D2-4B1C-BC54-7A150C0D74EF}"/>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6" name="Line 150">
                <a:extLst>
                  <a:ext uri="{FF2B5EF4-FFF2-40B4-BE49-F238E27FC236}">
                    <a16:creationId xmlns:a16="http://schemas.microsoft.com/office/drawing/2014/main" id="{CA19E596-33B6-4A9B-A9E2-2EF4B1503D46}"/>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7" name="Line 152">
                <a:extLst>
                  <a:ext uri="{FF2B5EF4-FFF2-40B4-BE49-F238E27FC236}">
                    <a16:creationId xmlns:a16="http://schemas.microsoft.com/office/drawing/2014/main" id="{14A8F140-C036-460B-8CAE-C07142B9DC4B}"/>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8" name="Line 154">
                <a:extLst>
                  <a:ext uri="{FF2B5EF4-FFF2-40B4-BE49-F238E27FC236}">
                    <a16:creationId xmlns:a16="http://schemas.microsoft.com/office/drawing/2014/main" id="{098123E1-9F93-4741-9EBD-B6AC7F065561}"/>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9" name="Line 156">
                <a:extLst>
                  <a:ext uri="{FF2B5EF4-FFF2-40B4-BE49-F238E27FC236}">
                    <a16:creationId xmlns:a16="http://schemas.microsoft.com/office/drawing/2014/main" id="{19C48198-2469-4190-9405-B12538396A9A}"/>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0" name="Line 158">
                <a:extLst>
                  <a:ext uri="{FF2B5EF4-FFF2-40B4-BE49-F238E27FC236}">
                    <a16:creationId xmlns:a16="http://schemas.microsoft.com/office/drawing/2014/main" id="{0D0DF9FB-C8A8-4B8A-9B63-558839EA1453}"/>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1" name="Line 160">
                <a:extLst>
                  <a:ext uri="{FF2B5EF4-FFF2-40B4-BE49-F238E27FC236}">
                    <a16:creationId xmlns:a16="http://schemas.microsoft.com/office/drawing/2014/main" id="{9368F0E3-A6B8-4303-B29C-12251C078AF8}"/>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2" name="Line 162">
                <a:extLst>
                  <a:ext uri="{FF2B5EF4-FFF2-40B4-BE49-F238E27FC236}">
                    <a16:creationId xmlns:a16="http://schemas.microsoft.com/office/drawing/2014/main" id="{12A79E62-A058-4277-ABE8-3390FAFB0476}"/>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3" name="Line 164">
                <a:extLst>
                  <a:ext uri="{FF2B5EF4-FFF2-40B4-BE49-F238E27FC236}">
                    <a16:creationId xmlns:a16="http://schemas.microsoft.com/office/drawing/2014/main" id="{64F937F7-E3FB-4B68-9E07-4482DCAF3892}"/>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4" name="Line 166">
                <a:extLst>
                  <a:ext uri="{FF2B5EF4-FFF2-40B4-BE49-F238E27FC236}">
                    <a16:creationId xmlns:a16="http://schemas.microsoft.com/office/drawing/2014/main" id="{EF0B533B-FB4C-42EE-95DE-1F063F45B33D}"/>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5" name="Line 168">
                <a:extLst>
                  <a:ext uri="{FF2B5EF4-FFF2-40B4-BE49-F238E27FC236}">
                    <a16:creationId xmlns:a16="http://schemas.microsoft.com/office/drawing/2014/main" id="{07F7B2D5-4C70-447B-A07F-6BB0E8D9F358}"/>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6" name="Line 170">
                <a:extLst>
                  <a:ext uri="{FF2B5EF4-FFF2-40B4-BE49-F238E27FC236}">
                    <a16:creationId xmlns:a16="http://schemas.microsoft.com/office/drawing/2014/main" id="{ADE073C8-E03F-4980-AF60-3DC3A9F7CD4B}"/>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7" name="Line 172">
                <a:extLst>
                  <a:ext uri="{FF2B5EF4-FFF2-40B4-BE49-F238E27FC236}">
                    <a16:creationId xmlns:a16="http://schemas.microsoft.com/office/drawing/2014/main" id="{D1558FA7-AEDF-4C1A-8C97-495A62BBB8D1}"/>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8" name="Line 174">
                <a:extLst>
                  <a:ext uri="{FF2B5EF4-FFF2-40B4-BE49-F238E27FC236}">
                    <a16:creationId xmlns:a16="http://schemas.microsoft.com/office/drawing/2014/main" id="{079F3F16-0BED-4890-9E22-D154C430FA14}"/>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9" name="Line 176">
                <a:extLst>
                  <a:ext uri="{FF2B5EF4-FFF2-40B4-BE49-F238E27FC236}">
                    <a16:creationId xmlns:a16="http://schemas.microsoft.com/office/drawing/2014/main" id="{6B9ABAA0-1B4B-4870-BDC6-80B3663FA387}"/>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0" name="Line 178">
                <a:extLst>
                  <a:ext uri="{FF2B5EF4-FFF2-40B4-BE49-F238E27FC236}">
                    <a16:creationId xmlns:a16="http://schemas.microsoft.com/office/drawing/2014/main" id="{A459ED7F-9803-4818-923A-976D979C97C3}"/>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1" name="Line 180">
                <a:extLst>
                  <a:ext uri="{FF2B5EF4-FFF2-40B4-BE49-F238E27FC236}">
                    <a16:creationId xmlns:a16="http://schemas.microsoft.com/office/drawing/2014/main" id="{C75B7ED3-CA72-45E0-9433-A8B8EE994C20}"/>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2" name="Line 182">
                <a:extLst>
                  <a:ext uri="{FF2B5EF4-FFF2-40B4-BE49-F238E27FC236}">
                    <a16:creationId xmlns:a16="http://schemas.microsoft.com/office/drawing/2014/main" id="{C3EC11E2-FB86-45D4-8841-D09AF795AE02}"/>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3" name="Line 184">
                <a:extLst>
                  <a:ext uri="{FF2B5EF4-FFF2-40B4-BE49-F238E27FC236}">
                    <a16:creationId xmlns:a16="http://schemas.microsoft.com/office/drawing/2014/main" id="{B55B1548-C441-4763-A63F-2B28D5D7B7FD}"/>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4" name="Line 186">
                <a:extLst>
                  <a:ext uri="{FF2B5EF4-FFF2-40B4-BE49-F238E27FC236}">
                    <a16:creationId xmlns:a16="http://schemas.microsoft.com/office/drawing/2014/main" id="{76C9561F-98F1-4251-97C3-F3013C4D2CBF}"/>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5" name="Line 188">
                <a:extLst>
                  <a:ext uri="{FF2B5EF4-FFF2-40B4-BE49-F238E27FC236}">
                    <a16:creationId xmlns:a16="http://schemas.microsoft.com/office/drawing/2014/main" id="{5C8CC2F1-D8DD-4937-9F02-3B183CB5FFC0}"/>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6" name="Line 190">
                <a:extLst>
                  <a:ext uri="{FF2B5EF4-FFF2-40B4-BE49-F238E27FC236}">
                    <a16:creationId xmlns:a16="http://schemas.microsoft.com/office/drawing/2014/main" id="{B3DC8681-B3CE-48F7-A2CC-1FBA5295F93A}"/>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7" name="Line 192">
                <a:extLst>
                  <a:ext uri="{FF2B5EF4-FFF2-40B4-BE49-F238E27FC236}">
                    <a16:creationId xmlns:a16="http://schemas.microsoft.com/office/drawing/2014/main" id="{0C98E150-AB1A-44EA-A00C-571E26FD88F4}"/>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8" name="Line 194">
                <a:extLst>
                  <a:ext uri="{FF2B5EF4-FFF2-40B4-BE49-F238E27FC236}">
                    <a16:creationId xmlns:a16="http://schemas.microsoft.com/office/drawing/2014/main" id="{858B03DA-5649-4A88-9525-611377F79D23}"/>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9" name="Line 196">
                <a:extLst>
                  <a:ext uri="{FF2B5EF4-FFF2-40B4-BE49-F238E27FC236}">
                    <a16:creationId xmlns:a16="http://schemas.microsoft.com/office/drawing/2014/main" id="{0A35C492-0275-4EBB-94AE-63566019BD23}"/>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0" name="Line 198">
                <a:extLst>
                  <a:ext uri="{FF2B5EF4-FFF2-40B4-BE49-F238E27FC236}">
                    <a16:creationId xmlns:a16="http://schemas.microsoft.com/office/drawing/2014/main" id="{BFC4A740-3847-447A-A211-91A7E8699506}"/>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1" name="Line 200">
                <a:extLst>
                  <a:ext uri="{FF2B5EF4-FFF2-40B4-BE49-F238E27FC236}">
                    <a16:creationId xmlns:a16="http://schemas.microsoft.com/office/drawing/2014/main" id="{5C33B12F-BF5F-4BB7-9C85-422C371F4BE7}"/>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2" name="Line 202">
                <a:extLst>
                  <a:ext uri="{FF2B5EF4-FFF2-40B4-BE49-F238E27FC236}">
                    <a16:creationId xmlns:a16="http://schemas.microsoft.com/office/drawing/2014/main" id="{84A35D5E-0E26-40FD-BF96-ED0299F2C680}"/>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3" name="Line 204">
                <a:extLst>
                  <a:ext uri="{FF2B5EF4-FFF2-40B4-BE49-F238E27FC236}">
                    <a16:creationId xmlns:a16="http://schemas.microsoft.com/office/drawing/2014/main" id="{47F045AC-F434-48BD-92EE-A83DE9ED0857}"/>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4" name="Line 206">
                <a:extLst>
                  <a:ext uri="{FF2B5EF4-FFF2-40B4-BE49-F238E27FC236}">
                    <a16:creationId xmlns:a16="http://schemas.microsoft.com/office/drawing/2014/main" id="{3C931936-7FAA-4D7D-8067-663AFE215C3E}"/>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5" name="Line 208">
                <a:extLst>
                  <a:ext uri="{FF2B5EF4-FFF2-40B4-BE49-F238E27FC236}">
                    <a16:creationId xmlns:a16="http://schemas.microsoft.com/office/drawing/2014/main" id="{48D8F41B-A7AB-4B4C-9184-E522CDB0CA0F}"/>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6" name="Line 210">
                <a:extLst>
                  <a:ext uri="{FF2B5EF4-FFF2-40B4-BE49-F238E27FC236}">
                    <a16:creationId xmlns:a16="http://schemas.microsoft.com/office/drawing/2014/main" id="{764CCF0D-AFBC-4B9A-A162-D93EA14390A7}"/>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7" name="Line 212">
                <a:extLst>
                  <a:ext uri="{FF2B5EF4-FFF2-40B4-BE49-F238E27FC236}">
                    <a16:creationId xmlns:a16="http://schemas.microsoft.com/office/drawing/2014/main" id="{61079BD5-B69C-4127-82C3-C173651C6496}"/>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8" name="Line 214">
                <a:extLst>
                  <a:ext uri="{FF2B5EF4-FFF2-40B4-BE49-F238E27FC236}">
                    <a16:creationId xmlns:a16="http://schemas.microsoft.com/office/drawing/2014/main" id="{925DBBB3-E814-4981-8238-93F0BE732A84}"/>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9" name="Line 216">
                <a:extLst>
                  <a:ext uri="{FF2B5EF4-FFF2-40B4-BE49-F238E27FC236}">
                    <a16:creationId xmlns:a16="http://schemas.microsoft.com/office/drawing/2014/main" id="{E08BDF0C-2C85-429D-A155-364B69D9042B}"/>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0" name="Line 218">
                <a:extLst>
                  <a:ext uri="{FF2B5EF4-FFF2-40B4-BE49-F238E27FC236}">
                    <a16:creationId xmlns:a16="http://schemas.microsoft.com/office/drawing/2014/main" id="{52811AD7-8B8D-4ADF-A1E6-74BBF857CCDE}"/>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1" name="Line 220">
                <a:extLst>
                  <a:ext uri="{FF2B5EF4-FFF2-40B4-BE49-F238E27FC236}">
                    <a16:creationId xmlns:a16="http://schemas.microsoft.com/office/drawing/2014/main" id="{A28ED4B1-93F5-481E-98F0-20DCE4B25895}"/>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2" name="Line 222">
                <a:extLst>
                  <a:ext uri="{FF2B5EF4-FFF2-40B4-BE49-F238E27FC236}">
                    <a16:creationId xmlns:a16="http://schemas.microsoft.com/office/drawing/2014/main" id="{C181D72B-33AA-428C-AA2A-0952BE9FAA26}"/>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3" name="Line 224">
                <a:extLst>
                  <a:ext uri="{FF2B5EF4-FFF2-40B4-BE49-F238E27FC236}">
                    <a16:creationId xmlns:a16="http://schemas.microsoft.com/office/drawing/2014/main" id="{7935DE74-D6AB-4D8A-B03E-35E3CE9863A9}"/>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4" name="Line 226">
                <a:extLst>
                  <a:ext uri="{FF2B5EF4-FFF2-40B4-BE49-F238E27FC236}">
                    <a16:creationId xmlns:a16="http://schemas.microsoft.com/office/drawing/2014/main" id="{6AB0E5B0-C978-4ABA-A21E-FDDBB34720DC}"/>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5" name="Line 228">
                <a:extLst>
                  <a:ext uri="{FF2B5EF4-FFF2-40B4-BE49-F238E27FC236}">
                    <a16:creationId xmlns:a16="http://schemas.microsoft.com/office/drawing/2014/main" id="{6795AF44-ABCC-44E1-B975-009157D4D91C}"/>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6" name="Line 146">
                <a:extLst>
                  <a:ext uri="{FF2B5EF4-FFF2-40B4-BE49-F238E27FC236}">
                    <a16:creationId xmlns:a16="http://schemas.microsoft.com/office/drawing/2014/main" id="{7B398D7E-0349-410D-BA26-ADCBDD19188D}"/>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7" name="Line 204">
                <a:extLst>
                  <a:ext uri="{FF2B5EF4-FFF2-40B4-BE49-F238E27FC236}">
                    <a16:creationId xmlns:a16="http://schemas.microsoft.com/office/drawing/2014/main" id="{05E27748-DFA1-43C6-BF34-8B25D3E5F57E}"/>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3" name="Group 12">
              <a:extLst>
                <a:ext uri="{FF2B5EF4-FFF2-40B4-BE49-F238E27FC236}">
                  <a16:creationId xmlns:a16="http://schemas.microsoft.com/office/drawing/2014/main" id="{C32C3921-6DF0-4499-B509-B1CA43367392}"/>
                </a:ext>
              </a:extLst>
            </p:cNvPr>
            <p:cNvGrpSpPr/>
            <p:nvPr userDrawn="1"/>
          </p:nvGrpSpPr>
          <p:grpSpPr bwMode="gray">
            <a:xfrm>
              <a:off x="0" y="6948152"/>
              <a:ext cx="12192000" cy="232538"/>
              <a:chOff x="0" y="-319423"/>
              <a:chExt cx="12192000" cy="232538"/>
            </a:xfrm>
          </p:grpSpPr>
          <p:sp>
            <p:nvSpPr>
              <p:cNvPr id="40" name="Line 146">
                <a:extLst>
                  <a:ext uri="{FF2B5EF4-FFF2-40B4-BE49-F238E27FC236}">
                    <a16:creationId xmlns:a16="http://schemas.microsoft.com/office/drawing/2014/main" id="{3051F23E-6AFF-4303-B42D-418EAAC96482}"/>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1" name="Line 148">
                <a:extLst>
                  <a:ext uri="{FF2B5EF4-FFF2-40B4-BE49-F238E27FC236}">
                    <a16:creationId xmlns:a16="http://schemas.microsoft.com/office/drawing/2014/main" id="{DE926B51-F388-46F1-ABAA-EFAD8543D0EB}"/>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2" name="Line 150">
                <a:extLst>
                  <a:ext uri="{FF2B5EF4-FFF2-40B4-BE49-F238E27FC236}">
                    <a16:creationId xmlns:a16="http://schemas.microsoft.com/office/drawing/2014/main" id="{B8679416-3158-41FB-AE9A-2ED3D40B5180}"/>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3" name="Line 152">
                <a:extLst>
                  <a:ext uri="{FF2B5EF4-FFF2-40B4-BE49-F238E27FC236}">
                    <a16:creationId xmlns:a16="http://schemas.microsoft.com/office/drawing/2014/main" id="{6D4809B7-24EF-4C92-AA39-9546E2808FDD}"/>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4" name="Line 154">
                <a:extLst>
                  <a:ext uri="{FF2B5EF4-FFF2-40B4-BE49-F238E27FC236}">
                    <a16:creationId xmlns:a16="http://schemas.microsoft.com/office/drawing/2014/main" id="{71F11503-511D-49D7-B079-455D1410823C}"/>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5" name="Line 156">
                <a:extLst>
                  <a:ext uri="{FF2B5EF4-FFF2-40B4-BE49-F238E27FC236}">
                    <a16:creationId xmlns:a16="http://schemas.microsoft.com/office/drawing/2014/main" id="{55230904-84EC-4BE8-A843-4850C37BF03C}"/>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6" name="Line 158">
                <a:extLst>
                  <a:ext uri="{FF2B5EF4-FFF2-40B4-BE49-F238E27FC236}">
                    <a16:creationId xmlns:a16="http://schemas.microsoft.com/office/drawing/2014/main" id="{D51A699A-4F6F-49F8-9B4D-03E90B5CA76C}"/>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7" name="Line 160">
                <a:extLst>
                  <a:ext uri="{FF2B5EF4-FFF2-40B4-BE49-F238E27FC236}">
                    <a16:creationId xmlns:a16="http://schemas.microsoft.com/office/drawing/2014/main" id="{BED16DB2-5A00-4E75-9276-32843FD0408C}"/>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8" name="Line 162">
                <a:extLst>
                  <a:ext uri="{FF2B5EF4-FFF2-40B4-BE49-F238E27FC236}">
                    <a16:creationId xmlns:a16="http://schemas.microsoft.com/office/drawing/2014/main" id="{1771A086-EE43-439E-9418-9C35B8842E30}"/>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9" name="Line 164">
                <a:extLst>
                  <a:ext uri="{FF2B5EF4-FFF2-40B4-BE49-F238E27FC236}">
                    <a16:creationId xmlns:a16="http://schemas.microsoft.com/office/drawing/2014/main" id="{E17CC11D-623E-448C-BE0C-1E2D64D4FCE5}"/>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0" name="Line 166">
                <a:extLst>
                  <a:ext uri="{FF2B5EF4-FFF2-40B4-BE49-F238E27FC236}">
                    <a16:creationId xmlns:a16="http://schemas.microsoft.com/office/drawing/2014/main" id="{54F3B892-17F1-40CC-8963-6E74D33F6A57}"/>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1" name="Line 168">
                <a:extLst>
                  <a:ext uri="{FF2B5EF4-FFF2-40B4-BE49-F238E27FC236}">
                    <a16:creationId xmlns:a16="http://schemas.microsoft.com/office/drawing/2014/main" id="{4021A450-FC7C-4702-9495-272EEF932BBD}"/>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2" name="Line 170">
                <a:extLst>
                  <a:ext uri="{FF2B5EF4-FFF2-40B4-BE49-F238E27FC236}">
                    <a16:creationId xmlns:a16="http://schemas.microsoft.com/office/drawing/2014/main" id="{EF720E9C-13E4-4141-A656-95D7EE48E4FA}"/>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3" name="Line 172">
                <a:extLst>
                  <a:ext uri="{FF2B5EF4-FFF2-40B4-BE49-F238E27FC236}">
                    <a16:creationId xmlns:a16="http://schemas.microsoft.com/office/drawing/2014/main" id="{60480E39-E07F-49F8-89C7-607E8DE7C767}"/>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4" name="Line 174">
                <a:extLst>
                  <a:ext uri="{FF2B5EF4-FFF2-40B4-BE49-F238E27FC236}">
                    <a16:creationId xmlns:a16="http://schemas.microsoft.com/office/drawing/2014/main" id="{6F9FEF41-2045-488E-A308-C02788C966C1}"/>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5" name="Line 176">
                <a:extLst>
                  <a:ext uri="{FF2B5EF4-FFF2-40B4-BE49-F238E27FC236}">
                    <a16:creationId xmlns:a16="http://schemas.microsoft.com/office/drawing/2014/main" id="{5590EB51-ED00-4E47-869B-726BC9266251}"/>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6" name="Line 178">
                <a:extLst>
                  <a:ext uri="{FF2B5EF4-FFF2-40B4-BE49-F238E27FC236}">
                    <a16:creationId xmlns:a16="http://schemas.microsoft.com/office/drawing/2014/main" id="{A0E49892-B680-4A94-B516-A45591500148}"/>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7" name="Line 180">
                <a:extLst>
                  <a:ext uri="{FF2B5EF4-FFF2-40B4-BE49-F238E27FC236}">
                    <a16:creationId xmlns:a16="http://schemas.microsoft.com/office/drawing/2014/main" id="{402361D0-7EA8-4163-B462-CACE3A1198E1}"/>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8" name="Line 182">
                <a:extLst>
                  <a:ext uri="{FF2B5EF4-FFF2-40B4-BE49-F238E27FC236}">
                    <a16:creationId xmlns:a16="http://schemas.microsoft.com/office/drawing/2014/main" id="{230D9405-C539-40D4-AA83-D385D30A24FF}"/>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9" name="Line 184">
                <a:extLst>
                  <a:ext uri="{FF2B5EF4-FFF2-40B4-BE49-F238E27FC236}">
                    <a16:creationId xmlns:a16="http://schemas.microsoft.com/office/drawing/2014/main" id="{98C1F4FA-8990-4B72-9100-F28AB828AC8E}"/>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0" name="Line 186">
                <a:extLst>
                  <a:ext uri="{FF2B5EF4-FFF2-40B4-BE49-F238E27FC236}">
                    <a16:creationId xmlns:a16="http://schemas.microsoft.com/office/drawing/2014/main" id="{246A124A-21E4-44E2-9957-E1AAF18D58EA}"/>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1" name="Line 188">
                <a:extLst>
                  <a:ext uri="{FF2B5EF4-FFF2-40B4-BE49-F238E27FC236}">
                    <a16:creationId xmlns:a16="http://schemas.microsoft.com/office/drawing/2014/main" id="{A8CB19A5-CF55-4164-A0AE-E9A447363BC3}"/>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2" name="Line 190">
                <a:extLst>
                  <a:ext uri="{FF2B5EF4-FFF2-40B4-BE49-F238E27FC236}">
                    <a16:creationId xmlns:a16="http://schemas.microsoft.com/office/drawing/2014/main" id="{CE61766A-FA33-44DE-B9B5-507CD29AA23B}"/>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3" name="Line 192">
                <a:extLst>
                  <a:ext uri="{FF2B5EF4-FFF2-40B4-BE49-F238E27FC236}">
                    <a16:creationId xmlns:a16="http://schemas.microsoft.com/office/drawing/2014/main" id="{70FDD65A-3EFB-410E-B7F4-A82A5957C96A}"/>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4" name="Line 194">
                <a:extLst>
                  <a:ext uri="{FF2B5EF4-FFF2-40B4-BE49-F238E27FC236}">
                    <a16:creationId xmlns:a16="http://schemas.microsoft.com/office/drawing/2014/main" id="{C33F92E0-5BC3-4895-913C-67CE42F8A30E}"/>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5" name="Line 196">
                <a:extLst>
                  <a:ext uri="{FF2B5EF4-FFF2-40B4-BE49-F238E27FC236}">
                    <a16:creationId xmlns:a16="http://schemas.microsoft.com/office/drawing/2014/main" id="{BF24C5C3-C488-49A8-B00A-40D0D064F559}"/>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6" name="Line 198">
                <a:extLst>
                  <a:ext uri="{FF2B5EF4-FFF2-40B4-BE49-F238E27FC236}">
                    <a16:creationId xmlns:a16="http://schemas.microsoft.com/office/drawing/2014/main" id="{D3AD992F-1BB3-43ED-B20F-771293D2CB31}"/>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7" name="Line 200">
                <a:extLst>
                  <a:ext uri="{FF2B5EF4-FFF2-40B4-BE49-F238E27FC236}">
                    <a16:creationId xmlns:a16="http://schemas.microsoft.com/office/drawing/2014/main" id="{CE888F2D-0E29-4BDB-8B57-212611ED49FE}"/>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8" name="Line 202">
                <a:extLst>
                  <a:ext uri="{FF2B5EF4-FFF2-40B4-BE49-F238E27FC236}">
                    <a16:creationId xmlns:a16="http://schemas.microsoft.com/office/drawing/2014/main" id="{05F25D64-C3B4-41C5-BA72-3BE72056F967}"/>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9" name="Line 204">
                <a:extLst>
                  <a:ext uri="{FF2B5EF4-FFF2-40B4-BE49-F238E27FC236}">
                    <a16:creationId xmlns:a16="http://schemas.microsoft.com/office/drawing/2014/main" id="{68DFA407-7095-4EF7-8AA6-46958682E00E}"/>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0" name="Line 206">
                <a:extLst>
                  <a:ext uri="{FF2B5EF4-FFF2-40B4-BE49-F238E27FC236}">
                    <a16:creationId xmlns:a16="http://schemas.microsoft.com/office/drawing/2014/main" id="{15281B6D-0F5C-468F-A67C-DB046F383556}"/>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1" name="Line 208">
                <a:extLst>
                  <a:ext uri="{FF2B5EF4-FFF2-40B4-BE49-F238E27FC236}">
                    <a16:creationId xmlns:a16="http://schemas.microsoft.com/office/drawing/2014/main" id="{A0245633-EB1D-4CBB-9ED1-4B346F84FA5C}"/>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2" name="Line 210">
                <a:extLst>
                  <a:ext uri="{FF2B5EF4-FFF2-40B4-BE49-F238E27FC236}">
                    <a16:creationId xmlns:a16="http://schemas.microsoft.com/office/drawing/2014/main" id="{8FA675A0-0C08-4349-85C7-DC4D04E3C772}"/>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3" name="Line 212">
                <a:extLst>
                  <a:ext uri="{FF2B5EF4-FFF2-40B4-BE49-F238E27FC236}">
                    <a16:creationId xmlns:a16="http://schemas.microsoft.com/office/drawing/2014/main" id="{558DA6D5-DC0E-47CA-BFDE-56F38E5FDC9D}"/>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4" name="Line 214">
                <a:extLst>
                  <a:ext uri="{FF2B5EF4-FFF2-40B4-BE49-F238E27FC236}">
                    <a16:creationId xmlns:a16="http://schemas.microsoft.com/office/drawing/2014/main" id="{BE1BBDB6-E438-4DCE-9BD9-6433CF6FEC67}"/>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5" name="Line 216">
                <a:extLst>
                  <a:ext uri="{FF2B5EF4-FFF2-40B4-BE49-F238E27FC236}">
                    <a16:creationId xmlns:a16="http://schemas.microsoft.com/office/drawing/2014/main" id="{59ACB492-8A5F-48E4-B226-2DAEE9B92033}"/>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6" name="Line 218">
                <a:extLst>
                  <a:ext uri="{FF2B5EF4-FFF2-40B4-BE49-F238E27FC236}">
                    <a16:creationId xmlns:a16="http://schemas.microsoft.com/office/drawing/2014/main" id="{9708A34D-2C67-4196-93F6-BB9AF0EC24A3}"/>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7" name="Line 220">
                <a:extLst>
                  <a:ext uri="{FF2B5EF4-FFF2-40B4-BE49-F238E27FC236}">
                    <a16:creationId xmlns:a16="http://schemas.microsoft.com/office/drawing/2014/main" id="{BE2C44DC-A694-4CF8-A55E-1B61CCD85CFD}"/>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8" name="Line 222">
                <a:extLst>
                  <a:ext uri="{FF2B5EF4-FFF2-40B4-BE49-F238E27FC236}">
                    <a16:creationId xmlns:a16="http://schemas.microsoft.com/office/drawing/2014/main" id="{2A2B77F9-F3C5-494D-AA7E-667BAE5DA6A7}"/>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9" name="Line 224">
                <a:extLst>
                  <a:ext uri="{FF2B5EF4-FFF2-40B4-BE49-F238E27FC236}">
                    <a16:creationId xmlns:a16="http://schemas.microsoft.com/office/drawing/2014/main" id="{087E13D9-F871-4AC2-9AB1-8C6A34CC49E7}"/>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0" name="Line 226">
                <a:extLst>
                  <a:ext uri="{FF2B5EF4-FFF2-40B4-BE49-F238E27FC236}">
                    <a16:creationId xmlns:a16="http://schemas.microsoft.com/office/drawing/2014/main" id="{C63A1DE9-D7B4-4075-973F-3C7DBDAA56AF}"/>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1" name="Line 228">
                <a:extLst>
                  <a:ext uri="{FF2B5EF4-FFF2-40B4-BE49-F238E27FC236}">
                    <a16:creationId xmlns:a16="http://schemas.microsoft.com/office/drawing/2014/main" id="{054ED991-DD5E-4A5D-8497-895F4EA5A938}"/>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Line 146">
                <a:extLst>
                  <a:ext uri="{FF2B5EF4-FFF2-40B4-BE49-F238E27FC236}">
                    <a16:creationId xmlns:a16="http://schemas.microsoft.com/office/drawing/2014/main" id="{991FC6A0-A7D5-4709-832C-E524927EF92A}"/>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3" name="Line 204">
                <a:extLst>
                  <a:ext uri="{FF2B5EF4-FFF2-40B4-BE49-F238E27FC236}">
                    <a16:creationId xmlns:a16="http://schemas.microsoft.com/office/drawing/2014/main" id="{C51B17CF-0281-4A43-9079-78304ED3E268}"/>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14" name="Group 13">
              <a:extLst>
                <a:ext uri="{FF2B5EF4-FFF2-40B4-BE49-F238E27FC236}">
                  <a16:creationId xmlns:a16="http://schemas.microsoft.com/office/drawing/2014/main" id="{338BF484-F7DE-43E4-8D3C-EA7B5DE8F582}"/>
                </a:ext>
              </a:extLst>
            </p:cNvPr>
            <p:cNvGrpSpPr/>
            <p:nvPr userDrawn="1"/>
          </p:nvGrpSpPr>
          <p:grpSpPr bwMode="gray">
            <a:xfrm>
              <a:off x="12276481" y="0"/>
              <a:ext cx="240289" cy="6858000"/>
              <a:chOff x="-319714" y="0"/>
              <a:chExt cx="240289" cy="6858000"/>
            </a:xfrm>
          </p:grpSpPr>
          <p:sp>
            <p:nvSpPr>
              <p:cNvPr id="15" name="Line 230">
                <a:extLst>
                  <a:ext uri="{FF2B5EF4-FFF2-40B4-BE49-F238E27FC236}">
                    <a16:creationId xmlns:a16="http://schemas.microsoft.com/office/drawing/2014/main" id="{E607298D-E175-48A5-A33A-EA3F3D18DA77}"/>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6" name="Line 232">
                <a:extLst>
                  <a:ext uri="{FF2B5EF4-FFF2-40B4-BE49-F238E27FC236}">
                    <a16:creationId xmlns:a16="http://schemas.microsoft.com/office/drawing/2014/main" id="{0FAA0CC8-295F-4B9B-B166-E4B110C248D5}"/>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7" name="Line 234">
                <a:extLst>
                  <a:ext uri="{FF2B5EF4-FFF2-40B4-BE49-F238E27FC236}">
                    <a16:creationId xmlns:a16="http://schemas.microsoft.com/office/drawing/2014/main" id="{4493DE9E-1A3C-4216-A905-5CE9F01FBC07}"/>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18" name="Line 236">
                <a:extLst>
                  <a:ext uri="{FF2B5EF4-FFF2-40B4-BE49-F238E27FC236}">
                    <a16:creationId xmlns:a16="http://schemas.microsoft.com/office/drawing/2014/main" id="{E100301F-2319-48F1-A1A3-E09EC4730B90}"/>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 name="Line 238">
                <a:extLst>
                  <a:ext uri="{FF2B5EF4-FFF2-40B4-BE49-F238E27FC236}">
                    <a16:creationId xmlns:a16="http://schemas.microsoft.com/office/drawing/2014/main" id="{9F8D59B2-ACFC-405B-B947-0133413A5A3E}"/>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 name="Line 240">
                <a:extLst>
                  <a:ext uri="{FF2B5EF4-FFF2-40B4-BE49-F238E27FC236}">
                    <a16:creationId xmlns:a16="http://schemas.microsoft.com/office/drawing/2014/main" id="{30CEAC1C-E022-4CB8-9B0E-B5EE235D01F3}"/>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 name="Line 244">
                <a:extLst>
                  <a:ext uri="{FF2B5EF4-FFF2-40B4-BE49-F238E27FC236}">
                    <a16:creationId xmlns:a16="http://schemas.microsoft.com/office/drawing/2014/main" id="{A7A0483A-9ABA-4F80-BBB6-8A08854B3EF2}"/>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 name="Line 246">
                <a:extLst>
                  <a:ext uri="{FF2B5EF4-FFF2-40B4-BE49-F238E27FC236}">
                    <a16:creationId xmlns:a16="http://schemas.microsoft.com/office/drawing/2014/main" id="{9FA55C8A-1A8D-4E17-92C1-9D045E90F05D}"/>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50">
                <a:extLst>
                  <a:ext uri="{FF2B5EF4-FFF2-40B4-BE49-F238E27FC236}">
                    <a16:creationId xmlns:a16="http://schemas.microsoft.com/office/drawing/2014/main" id="{FD539FF3-BCFE-44CE-9E2D-E0E82F6CB82E}"/>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52">
                <a:extLst>
                  <a:ext uri="{FF2B5EF4-FFF2-40B4-BE49-F238E27FC236}">
                    <a16:creationId xmlns:a16="http://schemas.microsoft.com/office/drawing/2014/main" id="{3C9C8295-A03F-455E-8D76-400FA48B51DE}"/>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 name="Line 254">
                <a:extLst>
                  <a:ext uri="{FF2B5EF4-FFF2-40B4-BE49-F238E27FC236}">
                    <a16:creationId xmlns:a16="http://schemas.microsoft.com/office/drawing/2014/main" id="{486881BE-152B-4956-BDB8-07DC36BCFBA0}"/>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 name="Line 256">
                <a:extLst>
                  <a:ext uri="{FF2B5EF4-FFF2-40B4-BE49-F238E27FC236}">
                    <a16:creationId xmlns:a16="http://schemas.microsoft.com/office/drawing/2014/main" id="{6DE2C0B4-97C2-48DE-8865-FB25A6FD79E5}"/>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 name="Line 258">
                <a:extLst>
                  <a:ext uri="{FF2B5EF4-FFF2-40B4-BE49-F238E27FC236}">
                    <a16:creationId xmlns:a16="http://schemas.microsoft.com/office/drawing/2014/main" id="{5FBF2699-33DD-4796-97AF-7152139ADBEC}"/>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 name="Line 260">
                <a:extLst>
                  <a:ext uri="{FF2B5EF4-FFF2-40B4-BE49-F238E27FC236}">
                    <a16:creationId xmlns:a16="http://schemas.microsoft.com/office/drawing/2014/main" id="{1C6261CF-E54F-49B9-BC84-59EA48934B17}"/>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 name="Line 262">
                <a:extLst>
                  <a:ext uri="{FF2B5EF4-FFF2-40B4-BE49-F238E27FC236}">
                    <a16:creationId xmlns:a16="http://schemas.microsoft.com/office/drawing/2014/main" id="{5D15D2CC-50A7-42FC-8D7F-C804AFE18997}"/>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0" name="Line 264">
                <a:extLst>
                  <a:ext uri="{FF2B5EF4-FFF2-40B4-BE49-F238E27FC236}">
                    <a16:creationId xmlns:a16="http://schemas.microsoft.com/office/drawing/2014/main" id="{4ED4E6BA-3735-46A7-867D-7F3F51CBCD0C}"/>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1" name="Line 266">
                <a:extLst>
                  <a:ext uri="{FF2B5EF4-FFF2-40B4-BE49-F238E27FC236}">
                    <a16:creationId xmlns:a16="http://schemas.microsoft.com/office/drawing/2014/main" id="{3862A41B-C006-4B65-90D7-9C2F687CA111}"/>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2" name="Line 268">
                <a:extLst>
                  <a:ext uri="{FF2B5EF4-FFF2-40B4-BE49-F238E27FC236}">
                    <a16:creationId xmlns:a16="http://schemas.microsoft.com/office/drawing/2014/main" id="{6E11108E-EB91-485A-973E-FBAED050CE0D}"/>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3" name="Line 270">
                <a:extLst>
                  <a:ext uri="{FF2B5EF4-FFF2-40B4-BE49-F238E27FC236}">
                    <a16:creationId xmlns:a16="http://schemas.microsoft.com/office/drawing/2014/main" id="{8ECC69CC-2E5D-48A1-8169-E871F9E3F072}"/>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4" name="Line 272">
                <a:extLst>
                  <a:ext uri="{FF2B5EF4-FFF2-40B4-BE49-F238E27FC236}">
                    <a16:creationId xmlns:a16="http://schemas.microsoft.com/office/drawing/2014/main" id="{C1A90C61-B2C9-4F09-BB2E-93BF0BDDF93E}"/>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5" name="Line 274">
                <a:extLst>
                  <a:ext uri="{FF2B5EF4-FFF2-40B4-BE49-F238E27FC236}">
                    <a16:creationId xmlns:a16="http://schemas.microsoft.com/office/drawing/2014/main" id="{BB68AAB4-8D4F-4757-8116-BFB22F2ACCE4}"/>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6" name="Line 276">
                <a:extLst>
                  <a:ext uri="{FF2B5EF4-FFF2-40B4-BE49-F238E27FC236}">
                    <a16:creationId xmlns:a16="http://schemas.microsoft.com/office/drawing/2014/main" id="{2D5511C0-9CEF-4F70-8054-797FBD483BD0}"/>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7" name="Line 278">
                <a:extLst>
                  <a:ext uri="{FF2B5EF4-FFF2-40B4-BE49-F238E27FC236}">
                    <a16:creationId xmlns:a16="http://schemas.microsoft.com/office/drawing/2014/main" id="{21987BD8-A143-4D72-81AD-7B81572CFAB3}"/>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8" name="Line 256">
                <a:extLst>
                  <a:ext uri="{FF2B5EF4-FFF2-40B4-BE49-F238E27FC236}">
                    <a16:creationId xmlns:a16="http://schemas.microsoft.com/office/drawing/2014/main" id="{E5156AC1-71A4-42A7-BABE-76D6F764C7A7}"/>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9" name="Line 234">
                <a:extLst>
                  <a:ext uri="{FF2B5EF4-FFF2-40B4-BE49-F238E27FC236}">
                    <a16:creationId xmlns:a16="http://schemas.microsoft.com/office/drawing/2014/main" id="{AD35C812-EC5C-402E-8D80-62A34413D4A7}"/>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3" name="Content Placeholder 2">
            <a:extLst>
              <a:ext uri="{FF2B5EF4-FFF2-40B4-BE49-F238E27FC236}">
                <a16:creationId xmlns:a16="http://schemas.microsoft.com/office/drawing/2014/main" id="{DC389B5C-A374-46FA-89AC-805B0EEC7969}"/>
              </a:ext>
            </a:extLst>
          </p:cNvPr>
          <p:cNvSpPr>
            <a:spLocks noGrp="1"/>
          </p:cNvSpPr>
          <p:nvPr>
            <p:ph idx="1" hasCustomPrompt="1"/>
          </p:nvPr>
        </p:nvSpPr>
        <p:spPr bwMode="black">
          <a:xfrm>
            <a:off x="571500" y="1531939"/>
            <a:ext cx="11048400" cy="4564800"/>
          </a:xfrm>
          <a:prstGeom prst="rect">
            <a:avLst/>
          </a:prstGeom>
        </p:spPr>
        <p:txBody>
          <a:bodyPr/>
          <a:lstStyle>
            <a:lvl1pPr marL="0" indent="0">
              <a:buNone/>
              <a:defRPr>
                <a:solidFill>
                  <a:schemeClr val="tx2"/>
                </a:solidFill>
              </a:defRPr>
            </a:lvl1pPr>
            <a:lvl2pPr marL="180000">
              <a:buClr>
                <a:schemeClr val="tx2"/>
              </a:buCl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Niveau</a:t>
            </a:r>
            <a:r>
              <a:rPr lang="en-US" dirty="0"/>
              <a:t> 1</a:t>
            </a:r>
          </a:p>
          <a:p>
            <a:pPr lvl="1"/>
            <a:r>
              <a:rPr lang="en-US" dirty="0" err="1"/>
              <a:t>Niveau</a:t>
            </a:r>
            <a:r>
              <a:rPr lang="en-US" dirty="0"/>
              <a:t> 2</a:t>
            </a:r>
          </a:p>
        </p:txBody>
      </p:sp>
      <p:sp>
        <p:nvSpPr>
          <p:cNvPr id="7" name="Footer Placeholder 6">
            <a:extLst>
              <a:ext uri="{FF2B5EF4-FFF2-40B4-BE49-F238E27FC236}">
                <a16:creationId xmlns:a16="http://schemas.microsoft.com/office/drawing/2014/main" id="{B2B1BA5E-282E-469B-8A36-ED8EC1EA1ED7}"/>
              </a:ext>
            </a:extLst>
          </p:cNvPr>
          <p:cNvSpPr>
            <a:spLocks noGrp="1"/>
          </p:cNvSpPr>
          <p:nvPr>
            <p:ph type="ftr" sz="quarter" idx="10"/>
          </p:nvPr>
        </p:nvSpPr>
        <p:spPr bwMode="black"/>
        <p:txBody>
          <a:bodyPr/>
          <a:lstStyle/>
          <a:p>
            <a:r>
              <a:rPr lang="nl-NL"/>
              <a:t>Behoefte functionele migratie SMZ</a:t>
            </a:r>
            <a:endParaRPr lang="en-GB" dirty="0"/>
          </a:p>
        </p:txBody>
      </p:sp>
      <p:sp>
        <p:nvSpPr>
          <p:cNvPr id="153" name="Slide Number Placeholder 152">
            <a:extLst>
              <a:ext uri="{FF2B5EF4-FFF2-40B4-BE49-F238E27FC236}">
                <a16:creationId xmlns:a16="http://schemas.microsoft.com/office/drawing/2014/main" id="{36E3B2CA-6AA2-46CE-AF8E-D4A073598E74}"/>
              </a:ext>
            </a:extLst>
          </p:cNvPr>
          <p:cNvSpPr>
            <a:spLocks noGrp="1"/>
          </p:cNvSpPr>
          <p:nvPr>
            <p:ph type="sldNum" sz="quarter" idx="11"/>
          </p:nvPr>
        </p:nvSpPr>
        <p:spPr bwMode="black"/>
        <p:txBody>
          <a:bodyPr/>
          <a:lstStyle/>
          <a:p>
            <a:fld id="{EEC0F82C-4994-47DA-8D9B-99D78D224F6D}" type="slidenum">
              <a:rPr lang="en-GB" smtClean="0"/>
              <a:pPr/>
              <a:t>‹nr.›</a:t>
            </a:fld>
            <a:endParaRPr lang="en-GB" dirty="0"/>
          </a:p>
        </p:txBody>
      </p:sp>
      <p:sp>
        <p:nvSpPr>
          <p:cNvPr id="155" name="Text Placeholder 3">
            <a:extLst>
              <a:ext uri="{FF2B5EF4-FFF2-40B4-BE49-F238E27FC236}">
                <a16:creationId xmlns:a16="http://schemas.microsoft.com/office/drawing/2014/main" id="{DF6AD37D-E8BC-4CDD-BFA9-469E11D4CA20}"/>
              </a:ext>
            </a:extLst>
          </p:cNvPr>
          <p:cNvSpPr txBox="1">
            <a:spLocks/>
          </p:cNvSpPr>
          <p:nvPr userDrawn="1"/>
        </p:nvSpPr>
        <p:spPr bwMode="gray">
          <a:xfrm>
            <a:off x="11047668" y="6285600"/>
            <a:ext cx="572400" cy="572400"/>
          </a:xfrm>
          <a:prstGeom prst="rect">
            <a:avLst/>
          </a:prstGeom>
          <a:blipFill>
            <a:blip r:embed="rId2"/>
            <a:stretch>
              <a:fillRect/>
            </a:stretch>
          </a:blipFill>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
        <p:nvSpPr>
          <p:cNvPr id="4" name="Title 3">
            <a:extLst>
              <a:ext uri="{FF2B5EF4-FFF2-40B4-BE49-F238E27FC236}">
                <a16:creationId xmlns:a16="http://schemas.microsoft.com/office/drawing/2014/main" id="{BE7D6050-2078-4E93-B4C4-47591C4F87CC}"/>
              </a:ext>
            </a:extLst>
          </p:cNvPr>
          <p:cNvSpPr>
            <a:spLocks noGrp="1"/>
          </p:cNvSpPr>
          <p:nvPr>
            <p:ph type="title" hasCustomPrompt="1"/>
          </p:nvPr>
        </p:nvSpPr>
        <p:spPr bwMode="black">
          <a:xfrm>
            <a:off x="571500" y="285752"/>
            <a:ext cx="11049000" cy="1238248"/>
          </a:xfrm>
        </p:spPr>
        <p:txBody>
          <a:bodyPr/>
          <a:lstStyle>
            <a:lvl1pPr>
              <a:defRPr>
                <a:solidFill>
                  <a:schemeClr val="tx2"/>
                </a:solidFill>
              </a:defRPr>
            </a:lvl1pPr>
          </a:lstStyle>
          <a:p>
            <a:r>
              <a:rPr lang="nl-NL" dirty="0"/>
              <a:t>Klik om de titel aan te passen</a:t>
            </a:r>
          </a:p>
        </p:txBody>
      </p:sp>
    </p:spTree>
    <p:extLst>
      <p:ext uri="{BB962C8B-B14F-4D97-AF65-F5344CB8AC3E}">
        <p14:creationId xmlns:p14="http://schemas.microsoft.com/office/powerpoint/2010/main" val="5061196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kstdia">
    <p:bg bwMode="gray">
      <p:bgRef idx="1001">
        <a:schemeClr val="bg1"/>
      </p:bgRef>
    </p:bg>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8FEA9182-444B-47BE-8176-55B363FE1507}"/>
              </a:ext>
            </a:extLst>
          </p:cNvPr>
          <p:cNvSpPr>
            <a:spLocks noGrp="1"/>
          </p:cNvSpPr>
          <p:nvPr>
            <p:ph sz="quarter" idx="14" hasCustomPrompt="1"/>
          </p:nvPr>
        </p:nvSpPr>
        <p:spPr bwMode="gray">
          <a:xfrm>
            <a:off x="571500" y="1531939"/>
            <a:ext cx="11048400" cy="4573586"/>
          </a:xfrm>
        </p:spPr>
        <p:txBody>
          <a:bodyPr/>
          <a:lstStyle>
            <a:lvl1pPr>
              <a:defRPr/>
            </a:lvl1pPr>
            <a:lvl2pPr>
              <a:defRPr/>
            </a:lvl2pPr>
            <a:lvl3pPr>
              <a:defRPr/>
            </a:lvl3pPr>
            <a:lvl4pPr>
              <a:defRPr/>
            </a:lvl4pPr>
            <a:lvl5pPr>
              <a:defRPr/>
            </a:lvl5pPr>
          </a:lstStyle>
          <a:p>
            <a:pPr lvl="0"/>
            <a:r>
              <a:rPr lang="en-US" dirty="0" err="1"/>
              <a:t>Niveau</a:t>
            </a:r>
            <a:r>
              <a:rPr lang="en-US" dirty="0"/>
              <a:t> 1</a:t>
            </a:r>
          </a:p>
          <a:p>
            <a:pPr lvl="1"/>
            <a:r>
              <a:rPr lang="en-US" dirty="0" err="1"/>
              <a:t>Niveau</a:t>
            </a:r>
            <a:r>
              <a:rPr lang="en-US" dirty="0"/>
              <a:t> 2</a:t>
            </a:r>
          </a:p>
          <a:p>
            <a:pPr lvl="2"/>
            <a:r>
              <a:rPr lang="en-US" dirty="0" err="1"/>
              <a:t>Niveau</a:t>
            </a:r>
            <a:r>
              <a:rPr lang="en-US" dirty="0"/>
              <a:t> 3</a:t>
            </a:r>
          </a:p>
          <a:p>
            <a:pPr lvl="3"/>
            <a:r>
              <a:rPr lang="en-US" dirty="0" err="1"/>
              <a:t>Niveau</a:t>
            </a:r>
            <a:r>
              <a:rPr lang="en-US" dirty="0"/>
              <a:t> 4</a:t>
            </a:r>
          </a:p>
          <a:p>
            <a:pPr lvl="4"/>
            <a:r>
              <a:rPr lang="en-US" dirty="0" err="1"/>
              <a:t>Niveau</a:t>
            </a:r>
            <a:r>
              <a:rPr lang="en-US" dirty="0"/>
              <a:t> 5</a:t>
            </a:r>
            <a:endParaRPr lang="en-GB" dirty="0"/>
          </a:p>
        </p:txBody>
      </p:sp>
      <p:sp>
        <p:nvSpPr>
          <p:cNvPr id="3" name="Footer Placeholder 2">
            <a:extLst>
              <a:ext uri="{FF2B5EF4-FFF2-40B4-BE49-F238E27FC236}">
                <a16:creationId xmlns:a16="http://schemas.microsoft.com/office/drawing/2014/main" id="{EC3FA214-7D25-4F33-80AA-CD7E73BCBBD2}"/>
              </a:ext>
            </a:extLst>
          </p:cNvPr>
          <p:cNvSpPr>
            <a:spLocks noGrp="1"/>
          </p:cNvSpPr>
          <p:nvPr>
            <p:ph type="ftr" sz="quarter" idx="15"/>
          </p:nvPr>
        </p:nvSpPr>
        <p:spPr bwMode="gray"/>
        <p:txBody>
          <a:bodyPr/>
          <a:lstStyle/>
          <a:p>
            <a:r>
              <a:rPr lang="nl-NL"/>
              <a:t>Behoefte functionele migratie SMZ</a:t>
            </a:r>
            <a:endParaRPr lang="en-GB" dirty="0"/>
          </a:p>
        </p:txBody>
      </p:sp>
      <p:sp>
        <p:nvSpPr>
          <p:cNvPr id="7" name="Slide Number Placeholder 6">
            <a:extLst>
              <a:ext uri="{FF2B5EF4-FFF2-40B4-BE49-F238E27FC236}">
                <a16:creationId xmlns:a16="http://schemas.microsoft.com/office/drawing/2014/main" id="{7B36A311-11CE-4481-9A89-10E6CFA78B7F}"/>
              </a:ext>
            </a:extLst>
          </p:cNvPr>
          <p:cNvSpPr>
            <a:spLocks noGrp="1"/>
          </p:cNvSpPr>
          <p:nvPr>
            <p:ph type="sldNum" sz="quarter" idx="16"/>
          </p:nvPr>
        </p:nvSpPr>
        <p:spPr bwMode="gray"/>
        <p:txBody>
          <a:bodyPr/>
          <a:lstStyle/>
          <a:p>
            <a:fld id="{EEC0F82C-4994-47DA-8D9B-99D78D224F6D}" type="slidenum">
              <a:rPr lang="en-GB" smtClean="0"/>
              <a:pPr/>
              <a:t>‹nr.›</a:t>
            </a:fld>
            <a:endParaRPr lang="en-GB" dirty="0"/>
          </a:p>
        </p:txBody>
      </p:sp>
      <p:sp>
        <p:nvSpPr>
          <p:cNvPr id="2" name="Title 1">
            <a:extLst>
              <a:ext uri="{FF2B5EF4-FFF2-40B4-BE49-F238E27FC236}">
                <a16:creationId xmlns:a16="http://schemas.microsoft.com/office/drawing/2014/main" id="{4AA25600-7D57-4AB4-A7AD-82F3A45B726D}"/>
              </a:ext>
            </a:extLst>
          </p:cNvPr>
          <p:cNvSpPr>
            <a:spLocks noGrp="1"/>
          </p:cNvSpPr>
          <p:nvPr>
            <p:ph type="title" hasCustomPrompt="1"/>
          </p:nvPr>
        </p:nvSpPr>
        <p:spPr bwMode="gray">
          <a:xfrm>
            <a:off x="571500" y="285752"/>
            <a:ext cx="11049000" cy="1238248"/>
          </a:xfrm>
        </p:spPr>
        <p:txBody>
          <a:bodyPr/>
          <a:lstStyle>
            <a:lvl1pPr>
              <a:defRPr/>
            </a:lvl1pPr>
          </a:lstStyle>
          <a:p>
            <a:r>
              <a:rPr lang="nl-NL" dirty="0"/>
              <a:t>Klik om de titel aan te passen</a:t>
            </a:r>
          </a:p>
        </p:txBody>
      </p:sp>
    </p:spTree>
    <p:extLst>
      <p:ext uri="{BB962C8B-B14F-4D97-AF65-F5344CB8AC3E}">
        <p14:creationId xmlns:p14="http://schemas.microsoft.com/office/powerpoint/2010/main" val="2605180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koloms tekstdia">
    <p:spTree>
      <p:nvGrpSpPr>
        <p:cNvPr id="1" name=""/>
        <p:cNvGrpSpPr/>
        <p:nvPr/>
      </p:nvGrpSpPr>
      <p:grpSpPr>
        <a:xfrm>
          <a:off x="0" y="0"/>
          <a:ext cx="0" cy="0"/>
          <a:chOff x="0" y="0"/>
          <a:chExt cx="0" cy="0"/>
        </a:xfrm>
      </p:grpSpPr>
      <p:sp>
        <p:nvSpPr>
          <p:cNvPr id="10" name="Content Placeholder 8">
            <a:extLst>
              <a:ext uri="{FF2B5EF4-FFF2-40B4-BE49-F238E27FC236}">
                <a16:creationId xmlns:a16="http://schemas.microsoft.com/office/drawing/2014/main" id="{D250301E-BA37-4003-8372-4648E0A0F635}"/>
              </a:ext>
            </a:extLst>
          </p:cNvPr>
          <p:cNvSpPr>
            <a:spLocks noGrp="1"/>
          </p:cNvSpPr>
          <p:nvPr>
            <p:ph sz="quarter" idx="15" hasCustomPrompt="1"/>
          </p:nvPr>
        </p:nvSpPr>
        <p:spPr bwMode="gray">
          <a:xfrm>
            <a:off x="6238500" y="1531939"/>
            <a:ext cx="5382000" cy="4564800"/>
          </a:xfrm>
        </p:spPr>
        <p:txBody>
          <a:bodyPr/>
          <a:lstStyle>
            <a:lvl1pPr>
              <a:defRPr/>
            </a:lvl1pPr>
            <a:lvl2pPr>
              <a:defRPr/>
            </a:lvl2pPr>
            <a:lvl3pPr>
              <a:defRPr/>
            </a:lvl3pPr>
            <a:lvl4pPr>
              <a:defRPr/>
            </a:lvl4pPr>
            <a:lvl5pPr>
              <a:defRPr/>
            </a:lvl5pPr>
          </a:lstStyle>
          <a:p>
            <a:pPr lvl="0"/>
            <a:r>
              <a:rPr lang="en-US" dirty="0" err="1"/>
              <a:t>Niveau</a:t>
            </a:r>
            <a:r>
              <a:rPr lang="en-US" dirty="0"/>
              <a:t> 1</a:t>
            </a:r>
          </a:p>
          <a:p>
            <a:pPr lvl="1"/>
            <a:r>
              <a:rPr lang="en-US" dirty="0" err="1"/>
              <a:t>Niveau</a:t>
            </a:r>
            <a:r>
              <a:rPr lang="en-US" dirty="0"/>
              <a:t> 2</a:t>
            </a:r>
          </a:p>
          <a:p>
            <a:pPr lvl="2"/>
            <a:r>
              <a:rPr lang="en-US" dirty="0" err="1"/>
              <a:t>Niveau</a:t>
            </a:r>
            <a:r>
              <a:rPr lang="en-US" dirty="0"/>
              <a:t> 3</a:t>
            </a:r>
          </a:p>
          <a:p>
            <a:pPr lvl="3"/>
            <a:r>
              <a:rPr lang="en-US" dirty="0" err="1"/>
              <a:t>Niveau</a:t>
            </a:r>
            <a:r>
              <a:rPr lang="en-US" dirty="0"/>
              <a:t> 4</a:t>
            </a:r>
          </a:p>
          <a:p>
            <a:pPr lvl="4"/>
            <a:r>
              <a:rPr lang="en-US" dirty="0" err="1"/>
              <a:t>Niveau</a:t>
            </a:r>
            <a:r>
              <a:rPr lang="en-US" dirty="0"/>
              <a:t> 5</a:t>
            </a:r>
            <a:endParaRPr lang="en-GB" dirty="0"/>
          </a:p>
        </p:txBody>
      </p:sp>
      <p:sp>
        <p:nvSpPr>
          <p:cNvPr id="3" name="Footer Placeholder 2">
            <a:extLst>
              <a:ext uri="{FF2B5EF4-FFF2-40B4-BE49-F238E27FC236}">
                <a16:creationId xmlns:a16="http://schemas.microsoft.com/office/drawing/2014/main" id="{37EFEB26-60C1-458C-AEB2-4862977C0198}"/>
              </a:ext>
            </a:extLst>
          </p:cNvPr>
          <p:cNvSpPr>
            <a:spLocks noGrp="1"/>
          </p:cNvSpPr>
          <p:nvPr>
            <p:ph type="ftr" sz="quarter" idx="16"/>
          </p:nvPr>
        </p:nvSpPr>
        <p:spPr bwMode="gray"/>
        <p:txBody>
          <a:bodyPr/>
          <a:lstStyle/>
          <a:p>
            <a:r>
              <a:rPr lang="nl-NL"/>
              <a:t>Behoefte functionele migratie SMZ</a:t>
            </a:r>
            <a:endParaRPr lang="en-GB" dirty="0"/>
          </a:p>
        </p:txBody>
      </p:sp>
      <p:sp>
        <p:nvSpPr>
          <p:cNvPr id="4" name="Slide Number Placeholder 3">
            <a:extLst>
              <a:ext uri="{FF2B5EF4-FFF2-40B4-BE49-F238E27FC236}">
                <a16:creationId xmlns:a16="http://schemas.microsoft.com/office/drawing/2014/main" id="{92117778-47BC-4BCE-8D2C-CF8E681EC6E8}"/>
              </a:ext>
            </a:extLst>
          </p:cNvPr>
          <p:cNvSpPr>
            <a:spLocks noGrp="1"/>
          </p:cNvSpPr>
          <p:nvPr>
            <p:ph type="sldNum" sz="quarter" idx="17"/>
          </p:nvPr>
        </p:nvSpPr>
        <p:spPr bwMode="gray"/>
        <p:txBody>
          <a:bodyPr/>
          <a:lstStyle/>
          <a:p>
            <a:fld id="{EEC0F82C-4994-47DA-8D9B-99D78D224F6D}" type="slidenum">
              <a:rPr lang="en-GB" smtClean="0"/>
              <a:pPr/>
              <a:t>‹nr.›</a:t>
            </a:fld>
            <a:endParaRPr lang="en-GB" dirty="0"/>
          </a:p>
        </p:txBody>
      </p:sp>
      <p:sp>
        <p:nvSpPr>
          <p:cNvPr id="156" name="Content Placeholder 8">
            <a:extLst>
              <a:ext uri="{FF2B5EF4-FFF2-40B4-BE49-F238E27FC236}">
                <a16:creationId xmlns:a16="http://schemas.microsoft.com/office/drawing/2014/main" id="{8C1E6B3E-1E73-45D6-8003-DABCF8722A4E}"/>
              </a:ext>
            </a:extLst>
          </p:cNvPr>
          <p:cNvSpPr>
            <a:spLocks noGrp="1"/>
          </p:cNvSpPr>
          <p:nvPr>
            <p:ph sz="quarter" idx="14" hasCustomPrompt="1"/>
          </p:nvPr>
        </p:nvSpPr>
        <p:spPr bwMode="gray">
          <a:xfrm>
            <a:off x="571499" y="1531939"/>
            <a:ext cx="5382000" cy="4573586"/>
          </a:xfrm>
        </p:spPr>
        <p:txBody>
          <a:bodyPr/>
          <a:lstStyle>
            <a:lvl1pPr>
              <a:defRPr/>
            </a:lvl1pPr>
            <a:lvl2pPr>
              <a:defRPr/>
            </a:lvl2pPr>
            <a:lvl3pPr>
              <a:defRPr/>
            </a:lvl3pPr>
            <a:lvl4pPr>
              <a:defRPr/>
            </a:lvl4pPr>
            <a:lvl5pPr>
              <a:defRPr/>
            </a:lvl5pPr>
          </a:lstStyle>
          <a:p>
            <a:pPr lvl="0"/>
            <a:r>
              <a:rPr lang="en-US" dirty="0" err="1"/>
              <a:t>Niveau</a:t>
            </a:r>
            <a:r>
              <a:rPr lang="en-US" dirty="0"/>
              <a:t> 1</a:t>
            </a:r>
          </a:p>
          <a:p>
            <a:pPr lvl="1"/>
            <a:r>
              <a:rPr lang="en-US" dirty="0" err="1"/>
              <a:t>Niveau</a:t>
            </a:r>
            <a:r>
              <a:rPr lang="en-US" dirty="0"/>
              <a:t> 2</a:t>
            </a:r>
          </a:p>
          <a:p>
            <a:pPr lvl="2"/>
            <a:r>
              <a:rPr lang="en-US" dirty="0" err="1"/>
              <a:t>Niveau</a:t>
            </a:r>
            <a:r>
              <a:rPr lang="en-US" dirty="0"/>
              <a:t> 3</a:t>
            </a:r>
          </a:p>
          <a:p>
            <a:pPr lvl="3"/>
            <a:r>
              <a:rPr lang="en-US" dirty="0" err="1"/>
              <a:t>Niveau</a:t>
            </a:r>
            <a:r>
              <a:rPr lang="en-US" dirty="0"/>
              <a:t> 4</a:t>
            </a:r>
          </a:p>
          <a:p>
            <a:pPr lvl="4"/>
            <a:r>
              <a:rPr lang="en-US" dirty="0" err="1"/>
              <a:t>Niveau</a:t>
            </a:r>
            <a:r>
              <a:rPr lang="en-US" dirty="0"/>
              <a:t> 5</a:t>
            </a:r>
            <a:endParaRPr lang="en-GB" dirty="0"/>
          </a:p>
        </p:txBody>
      </p:sp>
      <p:sp>
        <p:nvSpPr>
          <p:cNvPr id="5" name="Title 4">
            <a:extLst>
              <a:ext uri="{FF2B5EF4-FFF2-40B4-BE49-F238E27FC236}">
                <a16:creationId xmlns:a16="http://schemas.microsoft.com/office/drawing/2014/main" id="{2F0A3DA3-E97C-4380-A0E1-2C679E9D286B}"/>
              </a:ext>
            </a:extLst>
          </p:cNvPr>
          <p:cNvSpPr>
            <a:spLocks noGrp="1"/>
          </p:cNvSpPr>
          <p:nvPr>
            <p:ph type="title" hasCustomPrompt="1"/>
          </p:nvPr>
        </p:nvSpPr>
        <p:spPr bwMode="gray">
          <a:xfrm>
            <a:off x="571500" y="285752"/>
            <a:ext cx="11049000" cy="1238248"/>
          </a:xfrm>
        </p:spPr>
        <p:txBody>
          <a:bodyPr/>
          <a:lstStyle>
            <a:lvl1pPr>
              <a:defRPr/>
            </a:lvl1pPr>
          </a:lstStyle>
          <a:p>
            <a:r>
              <a:rPr lang="nl-NL" dirty="0"/>
              <a:t>Klik om de titel aan te passen</a:t>
            </a:r>
          </a:p>
        </p:txBody>
      </p:sp>
    </p:spTree>
    <p:extLst>
      <p:ext uri="{BB962C8B-B14F-4D97-AF65-F5344CB8AC3E}">
        <p14:creationId xmlns:p14="http://schemas.microsoft.com/office/powerpoint/2010/main" val="1928982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en grafie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0A7B07FD-2A47-44DC-941F-7D6E14B47B72}"/>
              </a:ext>
            </a:extLst>
          </p:cNvPr>
          <p:cNvSpPr>
            <a:spLocks noGrp="1"/>
          </p:cNvSpPr>
          <p:nvPr>
            <p:ph type="ftr" sz="quarter" idx="15"/>
          </p:nvPr>
        </p:nvSpPr>
        <p:spPr bwMode="gray">
          <a:xfrm>
            <a:off x="855030" y="6280563"/>
            <a:ext cx="5097600" cy="577438"/>
          </a:xfrm>
        </p:spPr>
        <p:txBody>
          <a:bodyPr/>
          <a:lstStyle/>
          <a:p>
            <a:r>
              <a:rPr lang="nl-NL"/>
              <a:t>Behoefte functionele migratie SMZ</a:t>
            </a:r>
            <a:endParaRPr lang="en-GB" dirty="0"/>
          </a:p>
        </p:txBody>
      </p:sp>
      <p:sp>
        <p:nvSpPr>
          <p:cNvPr id="7" name="Slide Number Placeholder 6">
            <a:extLst>
              <a:ext uri="{FF2B5EF4-FFF2-40B4-BE49-F238E27FC236}">
                <a16:creationId xmlns:a16="http://schemas.microsoft.com/office/drawing/2014/main" id="{D2A312C5-F3AA-4AF5-B3E4-A7A9125FC3DC}"/>
              </a:ext>
            </a:extLst>
          </p:cNvPr>
          <p:cNvSpPr>
            <a:spLocks noGrp="1"/>
          </p:cNvSpPr>
          <p:nvPr>
            <p:ph type="sldNum" sz="quarter" idx="16"/>
          </p:nvPr>
        </p:nvSpPr>
        <p:spPr bwMode="gray"/>
        <p:txBody>
          <a:bodyPr/>
          <a:lstStyle/>
          <a:p>
            <a:fld id="{EEC0F82C-4994-47DA-8D9B-99D78D224F6D}" type="slidenum">
              <a:rPr lang="en-GB" smtClean="0"/>
              <a:pPr/>
              <a:t>‹nr.›</a:t>
            </a:fld>
            <a:endParaRPr lang="en-GB" dirty="0"/>
          </a:p>
        </p:txBody>
      </p:sp>
      <p:sp>
        <p:nvSpPr>
          <p:cNvPr id="14" name="Content Placeholder 8">
            <a:extLst>
              <a:ext uri="{FF2B5EF4-FFF2-40B4-BE49-F238E27FC236}">
                <a16:creationId xmlns:a16="http://schemas.microsoft.com/office/drawing/2014/main" id="{A36F7D77-A527-4765-806C-7E9EA367F802}"/>
              </a:ext>
            </a:extLst>
          </p:cNvPr>
          <p:cNvSpPr>
            <a:spLocks noGrp="1"/>
          </p:cNvSpPr>
          <p:nvPr>
            <p:ph sz="quarter" idx="20" hasCustomPrompt="1"/>
          </p:nvPr>
        </p:nvSpPr>
        <p:spPr bwMode="gray">
          <a:xfrm>
            <a:off x="6238500" y="2082801"/>
            <a:ext cx="5382000" cy="4022724"/>
          </a:xfrm>
        </p:spPr>
        <p:txBody>
          <a:bodyPr/>
          <a:lstStyle>
            <a:lvl1pPr>
              <a:defRPr/>
            </a:lvl1pPr>
          </a:lstStyle>
          <a:p>
            <a:pPr lvl="0"/>
            <a:r>
              <a:rPr lang="en-US" dirty="0" err="1"/>
              <a:t>Plaats</a:t>
            </a:r>
            <a:r>
              <a:rPr lang="en-US" dirty="0"/>
              <a:t> </a:t>
            </a:r>
            <a:r>
              <a:rPr lang="en-US" dirty="0" err="1"/>
              <a:t>een</a:t>
            </a:r>
            <a:r>
              <a:rPr lang="en-US" dirty="0"/>
              <a:t> </a:t>
            </a:r>
            <a:r>
              <a:rPr lang="en-US" dirty="0" err="1"/>
              <a:t>grafiek</a:t>
            </a:r>
            <a:endParaRPr lang="en-GB" dirty="0"/>
          </a:p>
        </p:txBody>
      </p:sp>
      <p:sp>
        <p:nvSpPr>
          <p:cNvPr id="15" name="Text Placeholder 4">
            <a:extLst>
              <a:ext uri="{FF2B5EF4-FFF2-40B4-BE49-F238E27FC236}">
                <a16:creationId xmlns:a16="http://schemas.microsoft.com/office/drawing/2014/main" id="{0DB36431-83D4-48F2-97ED-9F7019816FE7}"/>
              </a:ext>
            </a:extLst>
          </p:cNvPr>
          <p:cNvSpPr>
            <a:spLocks noGrp="1"/>
          </p:cNvSpPr>
          <p:nvPr>
            <p:ph type="body" sz="quarter" idx="21" hasCustomPrompt="1"/>
          </p:nvPr>
        </p:nvSpPr>
        <p:spPr bwMode="gray">
          <a:xfrm>
            <a:off x="6238500" y="1524000"/>
            <a:ext cx="5382000" cy="279401"/>
          </a:xfrm>
          <a:prstGeom prst="rect">
            <a:avLst/>
          </a:prstGeom>
        </p:spPr>
        <p:txBody>
          <a:bodyPr anchor="b" anchorCtr="0">
            <a:noAutofit/>
          </a:bodyPr>
          <a:lstStyle>
            <a:lvl1pPr marL="0" indent="0">
              <a:buNone/>
              <a:defRPr sz="18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nl-NL" dirty="0"/>
              <a:t>Grafiek titel</a:t>
            </a:r>
          </a:p>
        </p:txBody>
      </p:sp>
      <p:sp>
        <p:nvSpPr>
          <p:cNvPr id="17" name="Content Placeholder 8">
            <a:extLst>
              <a:ext uri="{FF2B5EF4-FFF2-40B4-BE49-F238E27FC236}">
                <a16:creationId xmlns:a16="http://schemas.microsoft.com/office/drawing/2014/main" id="{C8910369-F871-4084-B502-2BC5FBED7866}"/>
              </a:ext>
            </a:extLst>
          </p:cNvPr>
          <p:cNvSpPr>
            <a:spLocks noGrp="1"/>
          </p:cNvSpPr>
          <p:nvPr>
            <p:ph sz="quarter" idx="14" hasCustomPrompt="1"/>
          </p:nvPr>
        </p:nvSpPr>
        <p:spPr bwMode="gray">
          <a:xfrm>
            <a:off x="571500" y="1531939"/>
            <a:ext cx="5382000" cy="4573586"/>
          </a:xfrm>
        </p:spPr>
        <p:txBody>
          <a:bodyPr/>
          <a:lstStyle>
            <a:lvl1pPr>
              <a:defRPr/>
            </a:lvl1pPr>
            <a:lvl2pPr>
              <a:defRPr/>
            </a:lvl2pPr>
            <a:lvl3pPr>
              <a:defRPr/>
            </a:lvl3pPr>
            <a:lvl4pPr>
              <a:defRPr/>
            </a:lvl4pPr>
            <a:lvl5pPr>
              <a:defRPr/>
            </a:lvl5pPr>
          </a:lstStyle>
          <a:p>
            <a:pPr lvl="0"/>
            <a:r>
              <a:rPr lang="en-US" dirty="0" err="1"/>
              <a:t>Niveau</a:t>
            </a:r>
            <a:r>
              <a:rPr lang="en-US" dirty="0"/>
              <a:t> 1</a:t>
            </a:r>
          </a:p>
          <a:p>
            <a:pPr lvl="1"/>
            <a:r>
              <a:rPr lang="en-US" dirty="0" err="1"/>
              <a:t>Niveau</a:t>
            </a:r>
            <a:r>
              <a:rPr lang="en-US" dirty="0"/>
              <a:t> 2</a:t>
            </a:r>
          </a:p>
          <a:p>
            <a:pPr lvl="2"/>
            <a:r>
              <a:rPr lang="en-US" dirty="0" err="1"/>
              <a:t>Niveau</a:t>
            </a:r>
            <a:r>
              <a:rPr lang="en-US" dirty="0"/>
              <a:t> 3</a:t>
            </a:r>
          </a:p>
          <a:p>
            <a:pPr lvl="3"/>
            <a:r>
              <a:rPr lang="en-US" dirty="0" err="1"/>
              <a:t>Niveau</a:t>
            </a:r>
            <a:r>
              <a:rPr lang="en-US" dirty="0"/>
              <a:t> 4</a:t>
            </a:r>
          </a:p>
          <a:p>
            <a:pPr lvl="4"/>
            <a:r>
              <a:rPr lang="en-US" dirty="0" err="1"/>
              <a:t>Niveau</a:t>
            </a:r>
            <a:r>
              <a:rPr lang="en-US" dirty="0"/>
              <a:t> 5</a:t>
            </a:r>
            <a:endParaRPr lang="en-GB" dirty="0"/>
          </a:p>
        </p:txBody>
      </p:sp>
      <p:sp>
        <p:nvSpPr>
          <p:cNvPr id="2" name="Title 1">
            <a:extLst>
              <a:ext uri="{FF2B5EF4-FFF2-40B4-BE49-F238E27FC236}">
                <a16:creationId xmlns:a16="http://schemas.microsoft.com/office/drawing/2014/main" id="{08289F8E-BD02-4250-A781-11CED51F4F10}"/>
              </a:ext>
            </a:extLst>
          </p:cNvPr>
          <p:cNvSpPr>
            <a:spLocks noGrp="1"/>
          </p:cNvSpPr>
          <p:nvPr>
            <p:ph type="title" hasCustomPrompt="1"/>
          </p:nvPr>
        </p:nvSpPr>
        <p:spPr bwMode="gray">
          <a:xfrm>
            <a:off x="571500" y="285752"/>
            <a:ext cx="11049000" cy="1238248"/>
          </a:xfrm>
        </p:spPr>
        <p:txBody>
          <a:bodyPr/>
          <a:lstStyle>
            <a:lvl1pPr>
              <a:defRPr/>
            </a:lvl1pPr>
          </a:lstStyle>
          <a:p>
            <a:r>
              <a:rPr lang="nl-NL" dirty="0"/>
              <a:t>Klik om de titel aan te passen</a:t>
            </a:r>
          </a:p>
        </p:txBody>
      </p:sp>
    </p:spTree>
    <p:extLst>
      <p:ext uri="{BB962C8B-B14F-4D97-AF65-F5344CB8AC3E}">
        <p14:creationId xmlns:p14="http://schemas.microsoft.com/office/powerpoint/2010/main" val="20545461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ee grafieken">
    <p:bg bwMode="gray">
      <p:bgRef idx="1001">
        <a:schemeClr val="bg1"/>
      </p:bgRef>
    </p:bg>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9001A125-B315-4F5D-8645-0FE5ABB158C9}"/>
              </a:ext>
            </a:extLst>
          </p:cNvPr>
          <p:cNvSpPr>
            <a:spLocks noGrp="1"/>
          </p:cNvSpPr>
          <p:nvPr>
            <p:ph type="ftr" sz="quarter" idx="10"/>
          </p:nvPr>
        </p:nvSpPr>
        <p:spPr bwMode="gray"/>
        <p:txBody>
          <a:bodyPr/>
          <a:lstStyle/>
          <a:p>
            <a:r>
              <a:rPr lang="nl-NL"/>
              <a:t>Behoefte functionele migratie SMZ</a:t>
            </a:r>
            <a:endParaRPr lang="en-GB" dirty="0"/>
          </a:p>
        </p:txBody>
      </p:sp>
      <p:sp>
        <p:nvSpPr>
          <p:cNvPr id="11" name="Slide Number Placeholder 10">
            <a:extLst>
              <a:ext uri="{FF2B5EF4-FFF2-40B4-BE49-F238E27FC236}">
                <a16:creationId xmlns:a16="http://schemas.microsoft.com/office/drawing/2014/main" id="{A24DDAEC-6BED-4D08-8CB9-CE7D70F3035B}"/>
              </a:ext>
            </a:extLst>
          </p:cNvPr>
          <p:cNvSpPr>
            <a:spLocks noGrp="1"/>
          </p:cNvSpPr>
          <p:nvPr>
            <p:ph type="sldNum" sz="quarter" idx="11"/>
          </p:nvPr>
        </p:nvSpPr>
        <p:spPr bwMode="gray"/>
        <p:txBody>
          <a:bodyPr/>
          <a:lstStyle/>
          <a:p>
            <a:fld id="{EEC0F82C-4994-47DA-8D9B-99D78D224F6D}" type="slidenum">
              <a:rPr lang="en-GB" smtClean="0"/>
              <a:pPr/>
              <a:t>‹nr.›</a:t>
            </a:fld>
            <a:endParaRPr lang="en-GB" dirty="0"/>
          </a:p>
        </p:txBody>
      </p:sp>
      <p:sp>
        <p:nvSpPr>
          <p:cNvPr id="13" name="Content Placeholder 8">
            <a:extLst>
              <a:ext uri="{FF2B5EF4-FFF2-40B4-BE49-F238E27FC236}">
                <a16:creationId xmlns:a16="http://schemas.microsoft.com/office/drawing/2014/main" id="{AFD0D768-D0D3-419F-A50A-348F13C0B056}"/>
              </a:ext>
            </a:extLst>
          </p:cNvPr>
          <p:cNvSpPr>
            <a:spLocks noGrp="1"/>
          </p:cNvSpPr>
          <p:nvPr>
            <p:ph sz="quarter" idx="18" hasCustomPrompt="1"/>
          </p:nvPr>
        </p:nvSpPr>
        <p:spPr bwMode="gray">
          <a:xfrm>
            <a:off x="571500" y="2082801"/>
            <a:ext cx="5382000" cy="4022724"/>
          </a:xfrm>
        </p:spPr>
        <p:txBody>
          <a:bodyPr/>
          <a:lstStyle>
            <a:lvl1pPr>
              <a:defRPr/>
            </a:lvl1pPr>
          </a:lstStyle>
          <a:p>
            <a:pPr lvl="0"/>
            <a:r>
              <a:rPr lang="en-US" dirty="0" err="1"/>
              <a:t>Plaats</a:t>
            </a:r>
            <a:r>
              <a:rPr lang="en-US" dirty="0"/>
              <a:t> </a:t>
            </a:r>
            <a:r>
              <a:rPr lang="en-US" dirty="0" err="1"/>
              <a:t>een</a:t>
            </a:r>
            <a:r>
              <a:rPr lang="en-US" dirty="0"/>
              <a:t> </a:t>
            </a:r>
            <a:r>
              <a:rPr lang="en-US" dirty="0" err="1"/>
              <a:t>grafiek</a:t>
            </a:r>
            <a:endParaRPr lang="en-GB" dirty="0"/>
          </a:p>
        </p:txBody>
      </p:sp>
      <p:sp>
        <p:nvSpPr>
          <p:cNvPr id="16" name="Text Placeholder 4">
            <a:extLst>
              <a:ext uri="{FF2B5EF4-FFF2-40B4-BE49-F238E27FC236}">
                <a16:creationId xmlns:a16="http://schemas.microsoft.com/office/drawing/2014/main" id="{ABCF25F6-53A3-44DB-9E7D-5B3F3AD76336}"/>
              </a:ext>
            </a:extLst>
          </p:cNvPr>
          <p:cNvSpPr>
            <a:spLocks noGrp="1"/>
          </p:cNvSpPr>
          <p:nvPr>
            <p:ph type="body" sz="quarter" idx="19" hasCustomPrompt="1"/>
          </p:nvPr>
        </p:nvSpPr>
        <p:spPr bwMode="gray">
          <a:xfrm>
            <a:off x="571500" y="1524000"/>
            <a:ext cx="5382000" cy="279401"/>
          </a:xfrm>
          <a:prstGeom prst="rect">
            <a:avLst/>
          </a:prstGeom>
        </p:spPr>
        <p:txBody>
          <a:bodyPr anchor="b" anchorCtr="0">
            <a:noAutofit/>
          </a:bodyPr>
          <a:lstStyle>
            <a:lvl1pPr marL="0" indent="0">
              <a:buNone/>
              <a:defRPr sz="18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nl-NL" dirty="0"/>
              <a:t>Grafiek titel</a:t>
            </a:r>
          </a:p>
        </p:txBody>
      </p:sp>
      <p:sp>
        <p:nvSpPr>
          <p:cNvPr id="307" name="Content Placeholder 8">
            <a:extLst>
              <a:ext uri="{FF2B5EF4-FFF2-40B4-BE49-F238E27FC236}">
                <a16:creationId xmlns:a16="http://schemas.microsoft.com/office/drawing/2014/main" id="{7F51DB44-8200-42CE-A1B8-585EFD8DA59E}"/>
              </a:ext>
            </a:extLst>
          </p:cNvPr>
          <p:cNvSpPr>
            <a:spLocks noGrp="1"/>
          </p:cNvSpPr>
          <p:nvPr>
            <p:ph sz="quarter" idx="20" hasCustomPrompt="1"/>
          </p:nvPr>
        </p:nvSpPr>
        <p:spPr bwMode="gray">
          <a:xfrm>
            <a:off x="6238500" y="2082801"/>
            <a:ext cx="5382000" cy="4022724"/>
          </a:xfrm>
        </p:spPr>
        <p:txBody>
          <a:bodyPr/>
          <a:lstStyle>
            <a:lvl1pPr>
              <a:defRPr/>
            </a:lvl1pPr>
          </a:lstStyle>
          <a:p>
            <a:pPr lvl="0"/>
            <a:r>
              <a:rPr lang="en-US" dirty="0" err="1"/>
              <a:t>Plaats</a:t>
            </a:r>
            <a:r>
              <a:rPr lang="en-US" dirty="0"/>
              <a:t> </a:t>
            </a:r>
            <a:r>
              <a:rPr lang="en-US" dirty="0" err="1"/>
              <a:t>een</a:t>
            </a:r>
            <a:r>
              <a:rPr lang="en-US" dirty="0"/>
              <a:t> </a:t>
            </a:r>
            <a:r>
              <a:rPr lang="en-US" dirty="0" err="1"/>
              <a:t>grafiek</a:t>
            </a:r>
            <a:endParaRPr lang="en-GB" dirty="0"/>
          </a:p>
        </p:txBody>
      </p:sp>
      <p:sp>
        <p:nvSpPr>
          <p:cNvPr id="308" name="Text Placeholder 4">
            <a:extLst>
              <a:ext uri="{FF2B5EF4-FFF2-40B4-BE49-F238E27FC236}">
                <a16:creationId xmlns:a16="http://schemas.microsoft.com/office/drawing/2014/main" id="{34E3C1CD-7C2A-481A-A775-75D68AF05AA0}"/>
              </a:ext>
            </a:extLst>
          </p:cNvPr>
          <p:cNvSpPr>
            <a:spLocks noGrp="1"/>
          </p:cNvSpPr>
          <p:nvPr>
            <p:ph type="body" sz="quarter" idx="21" hasCustomPrompt="1"/>
          </p:nvPr>
        </p:nvSpPr>
        <p:spPr bwMode="gray">
          <a:xfrm>
            <a:off x="6238500" y="1524000"/>
            <a:ext cx="5382000" cy="279401"/>
          </a:xfrm>
          <a:prstGeom prst="rect">
            <a:avLst/>
          </a:prstGeom>
        </p:spPr>
        <p:txBody>
          <a:bodyPr anchor="b" anchorCtr="0">
            <a:noAutofit/>
          </a:bodyPr>
          <a:lstStyle>
            <a:lvl1pPr marL="0" indent="0">
              <a:buNone/>
              <a:defRPr sz="18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nl-NL" dirty="0"/>
              <a:t>Grafiek titel</a:t>
            </a:r>
          </a:p>
        </p:txBody>
      </p:sp>
      <p:sp>
        <p:nvSpPr>
          <p:cNvPr id="3" name="Title 2">
            <a:extLst>
              <a:ext uri="{FF2B5EF4-FFF2-40B4-BE49-F238E27FC236}">
                <a16:creationId xmlns:a16="http://schemas.microsoft.com/office/drawing/2014/main" id="{4FB83375-8CF2-448C-A278-157A78CC6829}"/>
              </a:ext>
            </a:extLst>
          </p:cNvPr>
          <p:cNvSpPr>
            <a:spLocks noGrp="1"/>
          </p:cNvSpPr>
          <p:nvPr>
            <p:ph type="title" hasCustomPrompt="1"/>
          </p:nvPr>
        </p:nvSpPr>
        <p:spPr bwMode="gray">
          <a:xfrm>
            <a:off x="571500" y="285752"/>
            <a:ext cx="11049000" cy="1238248"/>
          </a:xfrm>
        </p:spPr>
        <p:txBody>
          <a:bodyPr/>
          <a:lstStyle>
            <a:lvl1pPr>
              <a:defRPr/>
            </a:lvl1pPr>
          </a:lstStyle>
          <a:p>
            <a:r>
              <a:rPr lang="nl-NL" dirty="0"/>
              <a:t>Klik om de titel aan te passen</a:t>
            </a:r>
          </a:p>
        </p:txBody>
      </p:sp>
    </p:spTree>
    <p:extLst>
      <p:ext uri="{BB962C8B-B14F-4D97-AF65-F5344CB8AC3E}">
        <p14:creationId xmlns:p14="http://schemas.microsoft.com/office/powerpoint/2010/main" val="37727086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ote grafiek">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E7039D21-6BD7-4B18-8F51-A95A05F74347}"/>
              </a:ext>
            </a:extLst>
          </p:cNvPr>
          <p:cNvSpPr>
            <a:spLocks noGrp="1"/>
          </p:cNvSpPr>
          <p:nvPr>
            <p:ph type="ftr" sz="quarter" idx="14"/>
          </p:nvPr>
        </p:nvSpPr>
        <p:spPr bwMode="gray"/>
        <p:txBody>
          <a:bodyPr/>
          <a:lstStyle/>
          <a:p>
            <a:r>
              <a:rPr lang="nl-NL"/>
              <a:t>Behoefte functionele migratie SMZ</a:t>
            </a:r>
            <a:endParaRPr lang="en-GB" dirty="0"/>
          </a:p>
        </p:txBody>
      </p:sp>
      <p:sp>
        <p:nvSpPr>
          <p:cNvPr id="8" name="Slide Number Placeholder 7">
            <a:extLst>
              <a:ext uri="{FF2B5EF4-FFF2-40B4-BE49-F238E27FC236}">
                <a16:creationId xmlns:a16="http://schemas.microsoft.com/office/drawing/2014/main" id="{DA638C78-F9AE-4C9E-B297-E08CDF139837}"/>
              </a:ext>
            </a:extLst>
          </p:cNvPr>
          <p:cNvSpPr>
            <a:spLocks noGrp="1"/>
          </p:cNvSpPr>
          <p:nvPr>
            <p:ph type="sldNum" sz="quarter" idx="15"/>
          </p:nvPr>
        </p:nvSpPr>
        <p:spPr bwMode="gray"/>
        <p:txBody>
          <a:bodyPr/>
          <a:lstStyle/>
          <a:p>
            <a:fld id="{EEC0F82C-4994-47DA-8D9B-99D78D224F6D}" type="slidenum">
              <a:rPr lang="en-GB" smtClean="0"/>
              <a:pPr/>
              <a:t>‹nr.›</a:t>
            </a:fld>
            <a:endParaRPr lang="en-GB" dirty="0"/>
          </a:p>
        </p:txBody>
      </p:sp>
      <p:sp>
        <p:nvSpPr>
          <p:cNvPr id="10" name="Content Placeholder 8">
            <a:extLst>
              <a:ext uri="{FF2B5EF4-FFF2-40B4-BE49-F238E27FC236}">
                <a16:creationId xmlns:a16="http://schemas.microsoft.com/office/drawing/2014/main" id="{902815B5-B9FC-4D7B-BDA5-ED87B5F909DF}"/>
              </a:ext>
            </a:extLst>
          </p:cNvPr>
          <p:cNvSpPr>
            <a:spLocks noGrp="1"/>
          </p:cNvSpPr>
          <p:nvPr>
            <p:ph sz="quarter" idx="17" hasCustomPrompt="1"/>
          </p:nvPr>
        </p:nvSpPr>
        <p:spPr bwMode="gray">
          <a:xfrm>
            <a:off x="571500" y="2082801"/>
            <a:ext cx="11048400" cy="4022724"/>
          </a:xfrm>
        </p:spPr>
        <p:txBody>
          <a:bodyPr/>
          <a:lstStyle>
            <a:lvl1pPr>
              <a:defRPr/>
            </a:lvl1pPr>
          </a:lstStyle>
          <a:p>
            <a:pPr lvl="0"/>
            <a:r>
              <a:rPr lang="en-US" dirty="0" err="1"/>
              <a:t>Plaats</a:t>
            </a:r>
            <a:r>
              <a:rPr lang="en-US" dirty="0"/>
              <a:t> </a:t>
            </a:r>
            <a:r>
              <a:rPr lang="en-US" dirty="0" err="1"/>
              <a:t>een</a:t>
            </a:r>
            <a:r>
              <a:rPr lang="en-US" dirty="0"/>
              <a:t> </a:t>
            </a:r>
            <a:r>
              <a:rPr lang="en-US" dirty="0" err="1"/>
              <a:t>grafiek</a:t>
            </a:r>
            <a:endParaRPr lang="en-GB" dirty="0"/>
          </a:p>
        </p:txBody>
      </p:sp>
      <p:sp>
        <p:nvSpPr>
          <p:cNvPr id="11" name="Text Placeholder 4">
            <a:extLst>
              <a:ext uri="{FF2B5EF4-FFF2-40B4-BE49-F238E27FC236}">
                <a16:creationId xmlns:a16="http://schemas.microsoft.com/office/drawing/2014/main" id="{65B5C579-587C-424F-9243-9F0D38BD7F36}"/>
              </a:ext>
            </a:extLst>
          </p:cNvPr>
          <p:cNvSpPr>
            <a:spLocks noGrp="1"/>
          </p:cNvSpPr>
          <p:nvPr>
            <p:ph type="body" sz="quarter" idx="3" hasCustomPrompt="1"/>
          </p:nvPr>
        </p:nvSpPr>
        <p:spPr bwMode="gray">
          <a:xfrm>
            <a:off x="571500" y="1524000"/>
            <a:ext cx="11048400" cy="279401"/>
          </a:xfrm>
          <a:prstGeom prst="rect">
            <a:avLst/>
          </a:prstGeom>
        </p:spPr>
        <p:txBody>
          <a:bodyPr anchor="b" anchorCtr="0">
            <a:noAutofit/>
          </a:bodyPr>
          <a:lstStyle>
            <a:lvl1pPr marL="0" indent="0">
              <a:buNone/>
              <a:defRPr sz="18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nl-NL" dirty="0"/>
              <a:t>Grafiek titel</a:t>
            </a:r>
          </a:p>
        </p:txBody>
      </p:sp>
      <p:sp>
        <p:nvSpPr>
          <p:cNvPr id="2" name="Title 1">
            <a:extLst>
              <a:ext uri="{FF2B5EF4-FFF2-40B4-BE49-F238E27FC236}">
                <a16:creationId xmlns:a16="http://schemas.microsoft.com/office/drawing/2014/main" id="{786CFA78-780E-4CF9-9467-DDA4FF5019A0}"/>
              </a:ext>
            </a:extLst>
          </p:cNvPr>
          <p:cNvSpPr>
            <a:spLocks noGrp="1"/>
          </p:cNvSpPr>
          <p:nvPr>
            <p:ph type="title" hasCustomPrompt="1"/>
          </p:nvPr>
        </p:nvSpPr>
        <p:spPr bwMode="gray">
          <a:xfrm>
            <a:off x="571500" y="285752"/>
            <a:ext cx="11049000" cy="1238248"/>
          </a:xfrm>
        </p:spPr>
        <p:txBody>
          <a:bodyPr/>
          <a:lstStyle>
            <a:lvl1pPr>
              <a:defRPr/>
            </a:lvl1pPr>
          </a:lstStyle>
          <a:p>
            <a:r>
              <a:rPr lang="nl-NL" dirty="0"/>
              <a:t>Klik om de titel aan te passen</a:t>
            </a:r>
          </a:p>
        </p:txBody>
      </p:sp>
    </p:spTree>
    <p:extLst>
      <p:ext uri="{BB962C8B-B14F-4D97-AF65-F5344CB8AC3E}">
        <p14:creationId xmlns:p14="http://schemas.microsoft.com/office/powerpoint/2010/main" val="15964202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7"/>
            </p:custDataLst>
            <p:extLst>
              <p:ext uri="{D42A27DB-BD31-4B8C-83A1-F6EECF244321}">
                <p14:modId xmlns:p14="http://schemas.microsoft.com/office/powerpoint/2010/main" val="166865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286" imgH="286" progId="TCLayout.ActiveDocument.1">
                  <p:embed/>
                </p:oleObj>
              </mc:Choice>
              <mc:Fallback>
                <p:oleObj name="think-cell Slide" r:id="rId19" imgW="286" imgH="286"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Rechthoek 1" hidden="1"/>
          <p:cNvSpPr/>
          <p:nvPr userDrawn="1">
            <p:custDataLst>
              <p:tags r:id="rId18"/>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nl-NL" sz="2400" b="1"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279" name="Rectangle 278">
            <a:extLst>
              <a:ext uri="{FF2B5EF4-FFF2-40B4-BE49-F238E27FC236}">
                <a16:creationId xmlns:a16="http://schemas.microsoft.com/office/drawing/2014/main" id="{1BE0B9DC-9DFF-403B-A8D8-B06AA33EFB4A}"/>
              </a:ext>
            </a:extLst>
          </p:cNvPr>
          <p:cNvSpPr/>
          <p:nvPr userDrawn="1"/>
        </p:nvSpPr>
        <p:spPr bwMode="gray">
          <a:xfrm>
            <a:off x="-3714750" y="-933450"/>
            <a:ext cx="19621500" cy="87249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276" name="Group 275">
            <a:extLst>
              <a:ext uri="{FF2B5EF4-FFF2-40B4-BE49-F238E27FC236}">
                <a16:creationId xmlns:a16="http://schemas.microsoft.com/office/drawing/2014/main" id="{1CF2A403-B3E5-46BE-8DA0-EB3525392273}"/>
              </a:ext>
            </a:extLst>
          </p:cNvPr>
          <p:cNvGrpSpPr/>
          <p:nvPr userDrawn="1"/>
        </p:nvGrpSpPr>
        <p:grpSpPr bwMode="gray">
          <a:xfrm>
            <a:off x="-329239" y="-319423"/>
            <a:ext cx="12846009" cy="7500113"/>
            <a:chOff x="-329239" y="-319423"/>
            <a:chExt cx="12846009" cy="7500113"/>
          </a:xfrm>
        </p:grpSpPr>
        <p:grpSp>
          <p:nvGrpSpPr>
            <p:cNvPr id="8" name="Group 7">
              <a:extLst>
                <a:ext uri="{FF2B5EF4-FFF2-40B4-BE49-F238E27FC236}">
                  <a16:creationId xmlns:a16="http://schemas.microsoft.com/office/drawing/2014/main" id="{EC2989A0-591E-4BE4-A52F-66C89D8E9297}"/>
                </a:ext>
              </a:extLst>
            </p:cNvPr>
            <p:cNvGrpSpPr/>
            <p:nvPr userDrawn="1"/>
          </p:nvGrpSpPr>
          <p:grpSpPr bwMode="gray">
            <a:xfrm>
              <a:off x="-329239" y="0"/>
              <a:ext cx="240289" cy="6858000"/>
              <a:chOff x="-319714" y="0"/>
              <a:chExt cx="240289" cy="6858000"/>
            </a:xfrm>
          </p:grpSpPr>
          <p:sp>
            <p:nvSpPr>
              <p:cNvPr id="51" name="Line 230">
                <a:extLst>
                  <a:ext uri="{FF2B5EF4-FFF2-40B4-BE49-F238E27FC236}">
                    <a16:creationId xmlns:a16="http://schemas.microsoft.com/office/drawing/2014/main" id="{4A799371-6775-4EF3-9AC6-0E242AD7C87E}"/>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2" name="Line 232">
                <a:extLst>
                  <a:ext uri="{FF2B5EF4-FFF2-40B4-BE49-F238E27FC236}">
                    <a16:creationId xmlns:a16="http://schemas.microsoft.com/office/drawing/2014/main" id="{7FF94247-9141-4137-BAE1-6F8B525F8039}"/>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3" name="Line 234">
                <a:extLst>
                  <a:ext uri="{FF2B5EF4-FFF2-40B4-BE49-F238E27FC236}">
                    <a16:creationId xmlns:a16="http://schemas.microsoft.com/office/drawing/2014/main" id="{48A0AFF0-27F0-4AC6-A020-4D2217FB8250}"/>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54" name="Line 236">
                <a:extLst>
                  <a:ext uri="{FF2B5EF4-FFF2-40B4-BE49-F238E27FC236}">
                    <a16:creationId xmlns:a16="http://schemas.microsoft.com/office/drawing/2014/main" id="{880D8312-338E-411C-9FAC-9BF1C4592BA2}"/>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5" name="Line 238">
                <a:extLst>
                  <a:ext uri="{FF2B5EF4-FFF2-40B4-BE49-F238E27FC236}">
                    <a16:creationId xmlns:a16="http://schemas.microsoft.com/office/drawing/2014/main" id="{7C00655C-9280-49AE-AC43-F521F6367C5E}"/>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6" name="Line 240">
                <a:extLst>
                  <a:ext uri="{FF2B5EF4-FFF2-40B4-BE49-F238E27FC236}">
                    <a16:creationId xmlns:a16="http://schemas.microsoft.com/office/drawing/2014/main" id="{9D9ACC10-38B9-49B2-A9BA-9BC18B1A9B42}"/>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7" name="Line 244">
                <a:extLst>
                  <a:ext uri="{FF2B5EF4-FFF2-40B4-BE49-F238E27FC236}">
                    <a16:creationId xmlns:a16="http://schemas.microsoft.com/office/drawing/2014/main" id="{99C4EEED-F5F6-49BE-8EF4-C9D881A27774}"/>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8" name="Line 246">
                <a:extLst>
                  <a:ext uri="{FF2B5EF4-FFF2-40B4-BE49-F238E27FC236}">
                    <a16:creationId xmlns:a16="http://schemas.microsoft.com/office/drawing/2014/main" id="{D80B4E89-6046-4BEE-90E9-0A5D8084B01A}"/>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59" name="Line 250">
                <a:extLst>
                  <a:ext uri="{FF2B5EF4-FFF2-40B4-BE49-F238E27FC236}">
                    <a16:creationId xmlns:a16="http://schemas.microsoft.com/office/drawing/2014/main" id="{583B8F3E-68E1-44B0-B92C-413F5F0696FE}"/>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0" name="Line 252">
                <a:extLst>
                  <a:ext uri="{FF2B5EF4-FFF2-40B4-BE49-F238E27FC236}">
                    <a16:creationId xmlns:a16="http://schemas.microsoft.com/office/drawing/2014/main" id="{D6DB7C0D-C98D-4FC6-A0AC-BCDC7946188F}"/>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1" name="Line 254">
                <a:extLst>
                  <a:ext uri="{FF2B5EF4-FFF2-40B4-BE49-F238E27FC236}">
                    <a16:creationId xmlns:a16="http://schemas.microsoft.com/office/drawing/2014/main" id="{C3792932-00FD-477F-90CB-24F0F2C6D047}"/>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2" name="Line 256">
                <a:extLst>
                  <a:ext uri="{FF2B5EF4-FFF2-40B4-BE49-F238E27FC236}">
                    <a16:creationId xmlns:a16="http://schemas.microsoft.com/office/drawing/2014/main" id="{243D556E-0C15-45EB-AE1A-A5E293A7DD86}"/>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3" name="Line 258">
                <a:extLst>
                  <a:ext uri="{FF2B5EF4-FFF2-40B4-BE49-F238E27FC236}">
                    <a16:creationId xmlns:a16="http://schemas.microsoft.com/office/drawing/2014/main" id="{25F4CF68-5A7B-4718-A28A-F4490C358006}"/>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4" name="Line 260">
                <a:extLst>
                  <a:ext uri="{FF2B5EF4-FFF2-40B4-BE49-F238E27FC236}">
                    <a16:creationId xmlns:a16="http://schemas.microsoft.com/office/drawing/2014/main" id="{4AD7450B-1C97-476A-B84E-111C29DF9C13}"/>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5" name="Line 262">
                <a:extLst>
                  <a:ext uri="{FF2B5EF4-FFF2-40B4-BE49-F238E27FC236}">
                    <a16:creationId xmlns:a16="http://schemas.microsoft.com/office/drawing/2014/main" id="{B3F1A7F8-C4BE-4FFD-92D9-61DD6B7E9DCF}"/>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6" name="Line 264">
                <a:extLst>
                  <a:ext uri="{FF2B5EF4-FFF2-40B4-BE49-F238E27FC236}">
                    <a16:creationId xmlns:a16="http://schemas.microsoft.com/office/drawing/2014/main" id="{7BD9808D-4E51-4BD2-8AA7-6A7D7A7859CA}"/>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7" name="Line 266">
                <a:extLst>
                  <a:ext uri="{FF2B5EF4-FFF2-40B4-BE49-F238E27FC236}">
                    <a16:creationId xmlns:a16="http://schemas.microsoft.com/office/drawing/2014/main" id="{1B66D40C-4087-435B-A991-1F96241BE070}"/>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8" name="Line 268">
                <a:extLst>
                  <a:ext uri="{FF2B5EF4-FFF2-40B4-BE49-F238E27FC236}">
                    <a16:creationId xmlns:a16="http://schemas.microsoft.com/office/drawing/2014/main" id="{2D8BA85B-7D51-45C2-8A0E-18BDE832C6CA}"/>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69" name="Line 270">
                <a:extLst>
                  <a:ext uri="{FF2B5EF4-FFF2-40B4-BE49-F238E27FC236}">
                    <a16:creationId xmlns:a16="http://schemas.microsoft.com/office/drawing/2014/main" id="{10CF31EB-2CB4-4D8F-A4A9-48B18E659A8E}"/>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0" name="Line 272">
                <a:extLst>
                  <a:ext uri="{FF2B5EF4-FFF2-40B4-BE49-F238E27FC236}">
                    <a16:creationId xmlns:a16="http://schemas.microsoft.com/office/drawing/2014/main" id="{F40B4D5C-2DB0-4211-B6A1-C15F87BC8249}"/>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1" name="Line 274">
                <a:extLst>
                  <a:ext uri="{FF2B5EF4-FFF2-40B4-BE49-F238E27FC236}">
                    <a16:creationId xmlns:a16="http://schemas.microsoft.com/office/drawing/2014/main" id="{BAAB5D79-E022-4471-8585-11C02C758F57}"/>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2" name="Line 276">
                <a:extLst>
                  <a:ext uri="{FF2B5EF4-FFF2-40B4-BE49-F238E27FC236}">
                    <a16:creationId xmlns:a16="http://schemas.microsoft.com/office/drawing/2014/main" id="{264FBB83-2D29-4020-8788-22E881FD520C}"/>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3" name="Line 278">
                <a:extLst>
                  <a:ext uri="{FF2B5EF4-FFF2-40B4-BE49-F238E27FC236}">
                    <a16:creationId xmlns:a16="http://schemas.microsoft.com/office/drawing/2014/main" id="{0C01E9E8-DD2E-4CCA-B15D-805F20D3213D}"/>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 name="Line 256">
                <a:extLst>
                  <a:ext uri="{FF2B5EF4-FFF2-40B4-BE49-F238E27FC236}">
                    <a16:creationId xmlns:a16="http://schemas.microsoft.com/office/drawing/2014/main" id="{069F73C4-38A3-4104-8412-F112FE21D95F}"/>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34">
                <a:extLst>
                  <a:ext uri="{FF2B5EF4-FFF2-40B4-BE49-F238E27FC236}">
                    <a16:creationId xmlns:a16="http://schemas.microsoft.com/office/drawing/2014/main" id="{C99160B0-A228-4AF0-835B-195B0F2F5066}"/>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4" name="Group 3">
              <a:extLst>
                <a:ext uri="{FF2B5EF4-FFF2-40B4-BE49-F238E27FC236}">
                  <a16:creationId xmlns:a16="http://schemas.microsoft.com/office/drawing/2014/main" id="{D1E4EE04-F8F2-4BB4-9279-7E564905F432}"/>
                </a:ext>
              </a:extLst>
            </p:cNvPr>
            <p:cNvGrpSpPr/>
            <p:nvPr userDrawn="1"/>
          </p:nvGrpSpPr>
          <p:grpSpPr bwMode="gray">
            <a:xfrm>
              <a:off x="0" y="-319423"/>
              <a:ext cx="12192000" cy="232538"/>
              <a:chOff x="0" y="-319423"/>
              <a:chExt cx="12192000" cy="232538"/>
            </a:xfrm>
          </p:grpSpPr>
          <p:sp>
            <p:nvSpPr>
              <p:cNvPr id="74" name="Line 146">
                <a:extLst>
                  <a:ext uri="{FF2B5EF4-FFF2-40B4-BE49-F238E27FC236}">
                    <a16:creationId xmlns:a16="http://schemas.microsoft.com/office/drawing/2014/main" id="{E9055BE5-2D90-426C-9788-56C9BD9DCE12}"/>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5" name="Line 148">
                <a:extLst>
                  <a:ext uri="{FF2B5EF4-FFF2-40B4-BE49-F238E27FC236}">
                    <a16:creationId xmlns:a16="http://schemas.microsoft.com/office/drawing/2014/main" id="{C9DAB43D-CC73-4859-B141-4AD98C2E82B1}"/>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6" name="Line 150">
                <a:extLst>
                  <a:ext uri="{FF2B5EF4-FFF2-40B4-BE49-F238E27FC236}">
                    <a16:creationId xmlns:a16="http://schemas.microsoft.com/office/drawing/2014/main" id="{783CCD94-2E85-48EB-BCC8-A74F2D10AF85}"/>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7" name="Line 152">
                <a:extLst>
                  <a:ext uri="{FF2B5EF4-FFF2-40B4-BE49-F238E27FC236}">
                    <a16:creationId xmlns:a16="http://schemas.microsoft.com/office/drawing/2014/main" id="{0F7BBE4D-BB21-42A9-8A7F-51311F57971B}"/>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8" name="Line 154">
                <a:extLst>
                  <a:ext uri="{FF2B5EF4-FFF2-40B4-BE49-F238E27FC236}">
                    <a16:creationId xmlns:a16="http://schemas.microsoft.com/office/drawing/2014/main" id="{B22D8C54-40B9-45B3-8AAD-C175EF1C03A5}"/>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9" name="Line 156">
                <a:extLst>
                  <a:ext uri="{FF2B5EF4-FFF2-40B4-BE49-F238E27FC236}">
                    <a16:creationId xmlns:a16="http://schemas.microsoft.com/office/drawing/2014/main" id="{4F2F6FA5-551A-4D31-8B60-0ED7E6A5FB25}"/>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0" name="Line 158">
                <a:extLst>
                  <a:ext uri="{FF2B5EF4-FFF2-40B4-BE49-F238E27FC236}">
                    <a16:creationId xmlns:a16="http://schemas.microsoft.com/office/drawing/2014/main" id="{4E81690B-CF1F-4979-ACDC-5676C4E26557}"/>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1" name="Line 160">
                <a:extLst>
                  <a:ext uri="{FF2B5EF4-FFF2-40B4-BE49-F238E27FC236}">
                    <a16:creationId xmlns:a16="http://schemas.microsoft.com/office/drawing/2014/main" id="{633CAFBD-66D7-4751-BFFA-5CED1363874D}"/>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Line 162">
                <a:extLst>
                  <a:ext uri="{FF2B5EF4-FFF2-40B4-BE49-F238E27FC236}">
                    <a16:creationId xmlns:a16="http://schemas.microsoft.com/office/drawing/2014/main" id="{E7DD789A-A91C-4297-89D3-3D88F7FEA0DF}"/>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3" name="Line 164">
                <a:extLst>
                  <a:ext uri="{FF2B5EF4-FFF2-40B4-BE49-F238E27FC236}">
                    <a16:creationId xmlns:a16="http://schemas.microsoft.com/office/drawing/2014/main" id="{76F57F59-BF0B-41A3-A7B8-600C34C6993A}"/>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4" name="Line 166">
                <a:extLst>
                  <a:ext uri="{FF2B5EF4-FFF2-40B4-BE49-F238E27FC236}">
                    <a16:creationId xmlns:a16="http://schemas.microsoft.com/office/drawing/2014/main" id="{AF8B9695-955E-427E-BAF0-0AD330712B69}"/>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5" name="Line 168">
                <a:extLst>
                  <a:ext uri="{FF2B5EF4-FFF2-40B4-BE49-F238E27FC236}">
                    <a16:creationId xmlns:a16="http://schemas.microsoft.com/office/drawing/2014/main" id="{B40382F7-32B1-4D0F-AE85-711838DDE070}"/>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6" name="Line 170">
                <a:extLst>
                  <a:ext uri="{FF2B5EF4-FFF2-40B4-BE49-F238E27FC236}">
                    <a16:creationId xmlns:a16="http://schemas.microsoft.com/office/drawing/2014/main" id="{5A705FED-B06F-451A-98D5-A1B80BB4B1CD}"/>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7" name="Line 172">
                <a:extLst>
                  <a:ext uri="{FF2B5EF4-FFF2-40B4-BE49-F238E27FC236}">
                    <a16:creationId xmlns:a16="http://schemas.microsoft.com/office/drawing/2014/main" id="{487C6CE1-2972-4940-B54B-C3BCB3D20AE9}"/>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8" name="Line 174">
                <a:extLst>
                  <a:ext uri="{FF2B5EF4-FFF2-40B4-BE49-F238E27FC236}">
                    <a16:creationId xmlns:a16="http://schemas.microsoft.com/office/drawing/2014/main" id="{656E3E82-31B7-4132-A694-B3BA52205906}"/>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9" name="Line 176">
                <a:extLst>
                  <a:ext uri="{FF2B5EF4-FFF2-40B4-BE49-F238E27FC236}">
                    <a16:creationId xmlns:a16="http://schemas.microsoft.com/office/drawing/2014/main" id="{DAA86CA9-C84E-41E4-89BE-93359944FA45}"/>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0" name="Line 178">
                <a:extLst>
                  <a:ext uri="{FF2B5EF4-FFF2-40B4-BE49-F238E27FC236}">
                    <a16:creationId xmlns:a16="http://schemas.microsoft.com/office/drawing/2014/main" id="{29766851-2B5B-4AB2-A299-AE8A9D1448C1}"/>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1" name="Line 180">
                <a:extLst>
                  <a:ext uri="{FF2B5EF4-FFF2-40B4-BE49-F238E27FC236}">
                    <a16:creationId xmlns:a16="http://schemas.microsoft.com/office/drawing/2014/main" id="{62C4EEAD-74C6-4071-89B2-D1C6943C2646}"/>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2" name="Line 182">
                <a:extLst>
                  <a:ext uri="{FF2B5EF4-FFF2-40B4-BE49-F238E27FC236}">
                    <a16:creationId xmlns:a16="http://schemas.microsoft.com/office/drawing/2014/main" id="{DC902D87-DF78-4305-BDFF-4DAB6AC0CAE5}"/>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3" name="Line 184">
                <a:extLst>
                  <a:ext uri="{FF2B5EF4-FFF2-40B4-BE49-F238E27FC236}">
                    <a16:creationId xmlns:a16="http://schemas.microsoft.com/office/drawing/2014/main" id="{7175C76A-A1F4-4705-8A56-D52F0D11CEEF}"/>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4" name="Line 186">
                <a:extLst>
                  <a:ext uri="{FF2B5EF4-FFF2-40B4-BE49-F238E27FC236}">
                    <a16:creationId xmlns:a16="http://schemas.microsoft.com/office/drawing/2014/main" id="{7A788EDF-7320-4E27-8200-B39B8B11FCFE}"/>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5" name="Line 188">
                <a:extLst>
                  <a:ext uri="{FF2B5EF4-FFF2-40B4-BE49-F238E27FC236}">
                    <a16:creationId xmlns:a16="http://schemas.microsoft.com/office/drawing/2014/main" id="{D0B43F8E-AEAC-409E-BEDE-92A7446BD03B}"/>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6" name="Line 190">
                <a:extLst>
                  <a:ext uri="{FF2B5EF4-FFF2-40B4-BE49-F238E27FC236}">
                    <a16:creationId xmlns:a16="http://schemas.microsoft.com/office/drawing/2014/main" id="{BA0574E9-4D1E-431A-85EB-147564BB3DEF}"/>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7" name="Line 192">
                <a:extLst>
                  <a:ext uri="{FF2B5EF4-FFF2-40B4-BE49-F238E27FC236}">
                    <a16:creationId xmlns:a16="http://schemas.microsoft.com/office/drawing/2014/main" id="{34682F73-8F81-40AF-8F08-FAD4948E1D1E}"/>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8" name="Line 194">
                <a:extLst>
                  <a:ext uri="{FF2B5EF4-FFF2-40B4-BE49-F238E27FC236}">
                    <a16:creationId xmlns:a16="http://schemas.microsoft.com/office/drawing/2014/main" id="{78089B54-998B-4545-96AF-D93CE3D8B3E6}"/>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9" name="Line 196">
                <a:extLst>
                  <a:ext uri="{FF2B5EF4-FFF2-40B4-BE49-F238E27FC236}">
                    <a16:creationId xmlns:a16="http://schemas.microsoft.com/office/drawing/2014/main" id="{863243C7-7234-49FD-A09D-DB3A608F866B}"/>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0" name="Line 198">
                <a:extLst>
                  <a:ext uri="{FF2B5EF4-FFF2-40B4-BE49-F238E27FC236}">
                    <a16:creationId xmlns:a16="http://schemas.microsoft.com/office/drawing/2014/main" id="{610AD6E6-BE8C-4979-A81B-C07AA7B21F50}"/>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1" name="Line 200">
                <a:extLst>
                  <a:ext uri="{FF2B5EF4-FFF2-40B4-BE49-F238E27FC236}">
                    <a16:creationId xmlns:a16="http://schemas.microsoft.com/office/drawing/2014/main" id="{45178C0C-CD75-4422-92EB-EA69A0292FAB}"/>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2" name="Line 202">
                <a:extLst>
                  <a:ext uri="{FF2B5EF4-FFF2-40B4-BE49-F238E27FC236}">
                    <a16:creationId xmlns:a16="http://schemas.microsoft.com/office/drawing/2014/main" id="{E8C04A60-9038-4BC1-9BF6-EB52D623DA0A}"/>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3" name="Line 204">
                <a:extLst>
                  <a:ext uri="{FF2B5EF4-FFF2-40B4-BE49-F238E27FC236}">
                    <a16:creationId xmlns:a16="http://schemas.microsoft.com/office/drawing/2014/main" id="{F317CA47-DBE7-4A30-8484-4F3C1A3CC9B1}"/>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4" name="Line 206">
                <a:extLst>
                  <a:ext uri="{FF2B5EF4-FFF2-40B4-BE49-F238E27FC236}">
                    <a16:creationId xmlns:a16="http://schemas.microsoft.com/office/drawing/2014/main" id="{51CA300F-44E9-403B-8A70-DF5ABEFF571F}"/>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5" name="Line 208">
                <a:extLst>
                  <a:ext uri="{FF2B5EF4-FFF2-40B4-BE49-F238E27FC236}">
                    <a16:creationId xmlns:a16="http://schemas.microsoft.com/office/drawing/2014/main" id="{9C28B45E-77E9-4916-B3E3-A1212720CA58}"/>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6" name="Line 210">
                <a:extLst>
                  <a:ext uri="{FF2B5EF4-FFF2-40B4-BE49-F238E27FC236}">
                    <a16:creationId xmlns:a16="http://schemas.microsoft.com/office/drawing/2014/main" id="{F7A40021-1BFF-4A9D-A6AE-54B1DFC57433}"/>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7" name="Line 212">
                <a:extLst>
                  <a:ext uri="{FF2B5EF4-FFF2-40B4-BE49-F238E27FC236}">
                    <a16:creationId xmlns:a16="http://schemas.microsoft.com/office/drawing/2014/main" id="{1C31ED5B-C152-4A41-8615-C15854B5D537}"/>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8" name="Line 214">
                <a:extLst>
                  <a:ext uri="{FF2B5EF4-FFF2-40B4-BE49-F238E27FC236}">
                    <a16:creationId xmlns:a16="http://schemas.microsoft.com/office/drawing/2014/main" id="{9AAFA5CB-0C0F-48AB-A84F-BAC8E78AAABD}"/>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9" name="Line 216">
                <a:extLst>
                  <a:ext uri="{FF2B5EF4-FFF2-40B4-BE49-F238E27FC236}">
                    <a16:creationId xmlns:a16="http://schemas.microsoft.com/office/drawing/2014/main" id="{975067D0-02E6-483A-B473-55D60C60E80D}"/>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0" name="Line 218">
                <a:extLst>
                  <a:ext uri="{FF2B5EF4-FFF2-40B4-BE49-F238E27FC236}">
                    <a16:creationId xmlns:a16="http://schemas.microsoft.com/office/drawing/2014/main" id="{D35D1D57-9861-4580-8EB1-9EFA1657E1D9}"/>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1" name="Line 220">
                <a:extLst>
                  <a:ext uri="{FF2B5EF4-FFF2-40B4-BE49-F238E27FC236}">
                    <a16:creationId xmlns:a16="http://schemas.microsoft.com/office/drawing/2014/main" id="{29CAB4B8-1267-4A6F-B76C-624EBF2CFCF7}"/>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2" name="Line 222">
                <a:extLst>
                  <a:ext uri="{FF2B5EF4-FFF2-40B4-BE49-F238E27FC236}">
                    <a16:creationId xmlns:a16="http://schemas.microsoft.com/office/drawing/2014/main" id="{75FE8E74-853D-4F5C-8F49-B4E3F82DD7CC}"/>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3" name="Line 224">
                <a:extLst>
                  <a:ext uri="{FF2B5EF4-FFF2-40B4-BE49-F238E27FC236}">
                    <a16:creationId xmlns:a16="http://schemas.microsoft.com/office/drawing/2014/main" id="{AC086E93-FBE8-477A-AA5B-BE3ADFA2DF0A}"/>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4" name="Line 226">
                <a:extLst>
                  <a:ext uri="{FF2B5EF4-FFF2-40B4-BE49-F238E27FC236}">
                    <a16:creationId xmlns:a16="http://schemas.microsoft.com/office/drawing/2014/main" id="{9C4415A8-7AF8-4C4E-89F4-08F1AEAA0ECB}"/>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5" name="Line 228">
                <a:extLst>
                  <a:ext uri="{FF2B5EF4-FFF2-40B4-BE49-F238E27FC236}">
                    <a16:creationId xmlns:a16="http://schemas.microsoft.com/office/drawing/2014/main" id="{DF15FA93-32C4-4F67-8DCC-6211727CFA8C}"/>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 name="Line 146">
                <a:extLst>
                  <a:ext uri="{FF2B5EF4-FFF2-40B4-BE49-F238E27FC236}">
                    <a16:creationId xmlns:a16="http://schemas.microsoft.com/office/drawing/2014/main" id="{7D390C6A-5B10-4DAE-8DD4-C3F34474859E}"/>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04">
                <a:extLst>
                  <a:ext uri="{FF2B5EF4-FFF2-40B4-BE49-F238E27FC236}">
                    <a16:creationId xmlns:a16="http://schemas.microsoft.com/office/drawing/2014/main" id="{5271E9CB-D203-4F88-940B-CE0E7F4C09E7}"/>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203" name="Group 202">
              <a:extLst>
                <a:ext uri="{FF2B5EF4-FFF2-40B4-BE49-F238E27FC236}">
                  <a16:creationId xmlns:a16="http://schemas.microsoft.com/office/drawing/2014/main" id="{9A55F9D7-F44C-424B-9951-671096D74919}"/>
                </a:ext>
              </a:extLst>
            </p:cNvPr>
            <p:cNvGrpSpPr/>
            <p:nvPr userDrawn="1"/>
          </p:nvGrpSpPr>
          <p:grpSpPr bwMode="gray">
            <a:xfrm>
              <a:off x="0" y="6948152"/>
              <a:ext cx="12192000" cy="232538"/>
              <a:chOff x="0" y="-319423"/>
              <a:chExt cx="12192000" cy="232538"/>
            </a:xfrm>
          </p:grpSpPr>
          <p:sp>
            <p:nvSpPr>
              <p:cNvPr id="204" name="Line 146">
                <a:extLst>
                  <a:ext uri="{FF2B5EF4-FFF2-40B4-BE49-F238E27FC236}">
                    <a16:creationId xmlns:a16="http://schemas.microsoft.com/office/drawing/2014/main" id="{E7BD9EED-FCAB-401A-A074-FF1ADD8AB933}"/>
                  </a:ext>
                </a:extLst>
              </p:cNvPr>
              <p:cNvSpPr>
                <a:spLocks noChangeShapeType="1"/>
              </p:cNvSpPr>
              <p:nvPr userDrawn="1"/>
            </p:nvSpPr>
            <p:spPr bwMode="gray">
              <a:xfrm>
                <a:off x="2835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5" name="Line 148">
                <a:extLst>
                  <a:ext uri="{FF2B5EF4-FFF2-40B4-BE49-F238E27FC236}">
                    <a16:creationId xmlns:a16="http://schemas.microsoft.com/office/drawing/2014/main" id="{322B27C5-ACD5-4A53-80DA-48142FEEF762}"/>
                  </a:ext>
                </a:extLst>
              </p:cNvPr>
              <p:cNvSpPr>
                <a:spLocks noChangeShapeType="1"/>
              </p:cNvSpPr>
              <p:nvPr userDrawn="1"/>
            </p:nvSpPr>
            <p:spPr bwMode="gray">
              <a:xfrm>
                <a:off x="48200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6" name="Line 150">
                <a:extLst>
                  <a:ext uri="{FF2B5EF4-FFF2-40B4-BE49-F238E27FC236}">
                    <a16:creationId xmlns:a16="http://schemas.microsoft.com/office/drawing/2014/main" id="{7D1FD05B-CCD1-4CB9-9E34-FADFDCBE8672}"/>
                  </a:ext>
                </a:extLst>
              </p:cNvPr>
              <p:cNvSpPr>
                <a:spLocks noChangeShapeType="1"/>
              </p:cNvSpPr>
              <p:nvPr userDrawn="1"/>
            </p:nvSpPr>
            <p:spPr bwMode="gray">
              <a:xfrm>
                <a:off x="25518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7" name="Line 152">
                <a:extLst>
                  <a:ext uri="{FF2B5EF4-FFF2-40B4-BE49-F238E27FC236}">
                    <a16:creationId xmlns:a16="http://schemas.microsoft.com/office/drawing/2014/main" id="{F98029B3-7D80-404E-9BAF-E8984449ED8E}"/>
                  </a:ext>
                </a:extLst>
              </p:cNvPr>
              <p:cNvSpPr>
                <a:spLocks noChangeShapeType="1"/>
              </p:cNvSpPr>
              <p:nvPr userDrawn="1"/>
            </p:nvSpPr>
            <p:spPr bwMode="gray">
              <a:xfrm>
                <a:off x="70883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8" name="Line 154">
                <a:extLst>
                  <a:ext uri="{FF2B5EF4-FFF2-40B4-BE49-F238E27FC236}">
                    <a16:creationId xmlns:a16="http://schemas.microsoft.com/office/drawing/2014/main" id="{6B1736EE-8925-47AE-AF7D-EC3491A69D69}"/>
                  </a:ext>
                </a:extLst>
              </p:cNvPr>
              <p:cNvSpPr>
                <a:spLocks noChangeShapeType="1"/>
              </p:cNvSpPr>
              <p:nvPr userDrawn="1"/>
            </p:nvSpPr>
            <p:spPr bwMode="gray">
              <a:xfrm>
                <a:off x="141767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9" name="Line 156">
                <a:extLst>
                  <a:ext uri="{FF2B5EF4-FFF2-40B4-BE49-F238E27FC236}">
                    <a16:creationId xmlns:a16="http://schemas.microsoft.com/office/drawing/2014/main" id="{AB881379-0CB5-488C-83C5-AD5ABE6B4AC4}"/>
                  </a:ext>
                </a:extLst>
              </p:cNvPr>
              <p:cNvSpPr>
                <a:spLocks noChangeShapeType="1"/>
              </p:cNvSpPr>
              <p:nvPr userDrawn="1"/>
            </p:nvSpPr>
            <p:spPr bwMode="gray">
              <a:xfrm>
                <a:off x="59542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0" name="Line 158">
                <a:extLst>
                  <a:ext uri="{FF2B5EF4-FFF2-40B4-BE49-F238E27FC236}">
                    <a16:creationId xmlns:a16="http://schemas.microsoft.com/office/drawing/2014/main" id="{EA704E05-E987-48D7-9744-1E7C7F603983}"/>
                  </a:ext>
                </a:extLst>
              </p:cNvPr>
              <p:cNvSpPr>
                <a:spLocks noChangeShapeType="1"/>
              </p:cNvSpPr>
              <p:nvPr userDrawn="1"/>
            </p:nvSpPr>
            <p:spPr bwMode="gray">
              <a:xfrm>
                <a:off x="36859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1" name="Line 160">
                <a:extLst>
                  <a:ext uri="{FF2B5EF4-FFF2-40B4-BE49-F238E27FC236}">
                    <a16:creationId xmlns:a16="http://schemas.microsoft.com/office/drawing/2014/main" id="{DD8A1146-C797-470B-86FF-26558384DE44}"/>
                  </a:ext>
                </a:extLst>
              </p:cNvPr>
              <p:cNvSpPr>
                <a:spLocks noChangeShapeType="1"/>
              </p:cNvSpPr>
              <p:nvPr userDrawn="1"/>
            </p:nvSpPr>
            <p:spPr bwMode="gray">
              <a:xfrm>
                <a:off x="822251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2" name="Line 162">
                <a:extLst>
                  <a:ext uri="{FF2B5EF4-FFF2-40B4-BE49-F238E27FC236}">
                    <a16:creationId xmlns:a16="http://schemas.microsoft.com/office/drawing/2014/main" id="{956D2995-FD90-4960-B6C6-37F74F1CD49F}"/>
                  </a:ext>
                </a:extLst>
              </p:cNvPr>
              <p:cNvSpPr>
                <a:spLocks noChangeShapeType="1"/>
              </p:cNvSpPr>
              <p:nvPr userDrawn="1"/>
            </p:nvSpPr>
            <p:spPr bwMode="gray">
              <a:xfrm>
                <a:off x="96401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3" name="Line 164">
                <a:extLst>
                  <a:ext uri="{FF2B5EF4-FFF2-40B4-BE49-F238E27FC236}">
                    <a16:creationId xmlns:a16="http://schemas.microsoft.com/office/drawing/2014/main" id="{4452549F-2205-4DE5-9231-C0119A43D645}"/>
                  </a:ext>
                </a:extLst>
              </p:cNvPr>
              <p:cNvSpPr>
                <a:spLocks noChangeShapeType="1"/>
              </p:cNvSpPr>
              <p:nvPr userDrawn="1"/>
            </p:nvSpPr>
            <p:spPr bwMode="gray">
              <a:xfrm>
                <a:off x="113414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4" name="Line 166">
                <a:extLst>
                  <a:ext uri="{FF2B5EF4-FFF2-40B4-BE49-F238E27FC236}">
                    <a16:creationId xmlns:a16="http://schemas.microsoft.com/office/drawing/2014/main" id="{06A73587-41DB-458D-BA0E-A41FC0F53469}"/>
                  </a:ext>
                </a:extLst>
              </p:cNvPr>
              <p:cNvSpPr>
                <a:spLocks noChangeShapeType="1"/>
              </p:cNvSpPr>
              <p:nvPr userDrawn="1"/>
            </p:nvSpPr>
            <p:spPr bwMode="gray">
              <a:xfrm>
                <a:off x="5670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5" name="Line 168">
                <a:extLst>
                  <a:ext uri="{FF2B5EF4-FFF2-40B4-BE49-F238E27FC236}">
                    <a16:creationId xmlns:a16="http://schemas.microsoft.com/office/drawing/2014/main" id="{AB8A168F-D710-4ACD-BB10-6FF16130E6C1}"/>
                  </a:ext>
                </a:extLst>
              </p:cNvPr>
              <p:cNvSpPr>
                <a:spLocks noChangeShapeType="1"/>
              </p:cNvSpPr>
              <p:nvPr userDrawn="1"/>
            </p:nvSpPr>
            <p:spPr bwMode="gray">
              <a:xfrm>
                <a:off x="51036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6" name="Line 170">
                <a:extLst>
                  <a:ext uri="{FF2B5EF4-FFF2-40B4-BE49-F238E27FC236}">
                    <a16:creationId xmlns:a16="http://schemas.microsoft.com/office/drawing/2014/main" id="{DC778B31-8B47-4517-833A-1E2BE98921F0}"/>
                  </a:ext>
                </a:extLst>
              </p:cNvPr>
              <p:cNvSpPr>
                <a:spLocks noChangeShapeType="1"/>
              </p:cNvSpPr>
              <p:nvPr userDrawn="1"/>
            </p:nvSpPr>
            <p:spPr bwMode="gray">
              <a:xfrm>
                <a:off x="28353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7" name="Line 172">
                <a:extLst>
                  <a:ext uri="{FF2B5EF4-FFF2-40B4-BE49-F238E27FC236}">
                    <a16:creationId xmlns:a16="http://schemas.microsoft.com/office/drawing/2014/main" id="{9A714920-CA9A-4307-97FD-4A1DBCF7A0BE}"/>
                  </a:ext>
                </a:extLst>
              </p:cNvPr>
              <p:cNvSpPr>
                <a:spLocks noChangeShapeType="1"/>
              </p:cNvSpPr>
              <p:nvPr userDrawn="1"/>
            </p:nvSpPr>
            <p:spPr bwMode="gray">
              <a:xfrm>
                <a:off x="73719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8" name="Line 174">
                <a:extLst>
                  <a:ext uri="{FF2B5EF4-FFF2-40B4-BE49-F238E27FC236}">
                    <a16:creationId xmlns:a16="http://schemas.microsoft.com/office/drawing/2014/main" id="{BD6860BD-4556-43E9-96FE-4296E15471A4}"/>
                  </a:ext>
                </a:extLst>
              </p:cNvPr>
              <p:cNvSpPr>
                <a:spLocks noChangeShapeType="1"/>
              </p:cNvSpPr>
              <p:nvPr userDrawn="1"/>
            </p:nvSpPr>
            <p:spPr bwMode="gray">
              <a:xfrm>
                <a:off x="170121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9" name="Line 176">
                <a:extLst>
                  <a:ext uri="{FF2B5EF4-FFF2-40B4-BE49-F238E27FC236}">
                    <a16:creationId xmlns:a16="http://schemas.microsoft.com/office/drawing/2014/main" id="{BBA72420-D47D-4D60-AC4E-15739634ABBF}"/>
                  </a:ext>
                </a:extLst>
              </p:cNvPr>
              <p:cNvSpPr>
                <a:spLocks noChangeShapeType="1"/>
              </p:cNvSpPr>
              <p:nvPr userDrawn="1"/>
            </p:nvSpPr>
            <p:spPr bwMode="gray">
              <a:xfrm>
                <a:off x="62377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0" name="Line 178">
                <a:extLst>
                  <a:ext uri="{FF2B5EF4-FFF2-40B4-BE49-F238E27FC236}">
                    <a16:creationId xmlns:a16="http://schemas.microsoft.com/office/drawing/2014/main" id="{3DB697E7-A9F1-4D40-83DC-0BFC0A071E1B}"/>
                  </a:ext>
                </a:extLst>
              </p:cNvPr>
              <p:cNvSpPr>
                <a:spLocks noChangeShapeType="1"/>
              </p:cNvSpPr>
              <p:nvPr userDrawn="1"/>
            </p:nvSpPr>
            <p:spPr bwMode="gray">
              <a:xfrm>
                <a:off x="396949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1" name="Line 180">
                <a:extLst>
                  <a:ext uri="{FF2B5EF4-FFF2-40B4-BE49-F238E27FC236}">
                    <a16:creationId xmlns:a16="http://schemas.microsoft.com/office/drawing/2014/main" id="{32D26787-F117-476A-9956-AB8F9349806C}"/>
                  </a:ext>
                </a:extLst>
              </p:cNvPr>
              <p:cNvSpPr>
                <a:spLocks noChangeShapeType="1"/>
              </p:cNvSpPr>
              <p:nvPr userDrawn="1"/>
            </p:nvSpPr>
            <p:spPr bwMode="gray">
              <a:xfrm>
                <a:off x="850605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2" name="Line 182">
                <a:extLst>
                  <a:ext uri="{FF2B5EF4-FFF2-40B4-BE49-F238E27FC236}">
                    <a16:creationId xmlns:a16="http://schemas.microsoft.com/office/drawing/2014/main" id="{025ECA36-F446-4473-ABCA-8D95AFD027AF}"/>
                  </a:ext>
                </a:extLst>
              </p:cNvPr>
              <p:cNvSpPr>
                <a:spLocks noChangeShapeType="1"/>
              </p:cNvSpPr>
              <p:nvPr userDrawn="1"/>
            </p:nvSpPr>
            <p:spPr bwMode="gray">
              <a:xfrm>
                <a:off x="99237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3" name="Line 184">
                <a:extLst>
                  <a:ext uri="{FF2B5EF4-FFF2-40B4-BE49-F238E27FC236}">
                    <a16:creationId xmlns:a16="http://schemas.microsoft.com/office/drawing/2014/main" id="{81FF942F-FB43-4FC6-929A-86C7B0EBC18B}"/>
                  </a:ext>
                </a:extLst>
              </p:cNvPr>
              <p:cNvSpPr>
                <a:spLocks noChangeShapeType="1"/>
              </p:cNvSpPr>
              <p:nvPr userDrawn="1"/>
            </p:nvSpPr>
            <p:spPr bwMode="gray">
              <a:xfrm>
                <a:off x="1162493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4" name="Line 186">
                <a:extLst>
                  <a:ext uri="{FF2B5EF4-FFF2-40B4-BE49-F238E27FC236}">
                    <a16:creationId xmlns:a16="http://schemas.microsoft.com/office/drawing/2014/main" id="{B709D19E-E39F-494A-A6E6-CBCEC49C1198}"/>
                  </a:ext>
                </a:extLst>
              </p:cNvPr>
              <p:cNvSpPr>
                <a:spLocks noChangeShapeType="1"/>
              </p:cNvSpPr>
              <p:nvPr userDrawn="1"/>
            </p:nvSpPr>
            <p:spPr bwMode="gray">
              <a:xfrm>
                <a:off x="8506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5" name="Line 188">
                <a:extLst>
                  <a:ext uri="{FF2B5EF4-FFF2-40B4-BE49-F238E27FC236}">
                    <a16:creationId xmlns:a16="http://schemas.microsoft.com/office/drawing/2014/main" id="{B8B8B54D-524F-4264-916C-2FC6FF6A80F6}"/>
                  </a:ext>
                </a:extLst>
              </p:cNvPr>
              <p:cNvSpPr>
                <a:spLocks noChangeShapeType="1"/>
              </p:cNvSpPr>
              <p:nvPr userDrawn="1"/>
            </p:nvSpPr>
            <p:spPr bwMode="gray">
              <a:xfrm>
                <a:off x="53871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6" name="Line 190">
                <a:extLst>
                  <a:ext uri="{FF2B5EF4-FFF2-40B4-BE49-F238E27FC236}">
                    <a16:creationId xmlns:a16="http://schemas.microsoft.com/office/drawing/2014/main" id="{918ADF54-EFD9-4399-928B-4465449F81D8}"/>
                  </a:ext>
                </a:extLst>
              </p:cNvPr>
              <p:cNvSpPr>
                <a:spLocks noChangeShapeType="1"/>
              </p:cNvSpPr>
              <p:nvPr userDrawn="1"/>
            </p:nvSpPr>
            <p:spPr bwMode="gray">
              <a:xfrm>
                <a:off x="31188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7" name="Line 192">
                <a:extLst>
                  <a:ext uri="{FF2B5EF4-FFF2-40B4-BE49-F238E27FC236}">
                    <a16:creationId xmlns:a16="http://schemas.microsoft.com/office/drawing/2014/main" id="{3E79A654-23C0-4C6A-BE83-E4DB38986AD2}"/>
                  </a:ext>
                </a:extLst>
              </p:cNvPr>
              <p:cNvSpPr>
                <a:spLocks noChangeShapeType="1"/>
              </p:cNvSpPr>
              <p:nvPr userDrawn="1"/>
            </p:nvSpPr>
            <p:spPr bwMode="gray">
              <a:xfrm>
                <a:off x="76554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8" name="Line 194">
                <a:extLst>
                  <a:ext uri="{FF2B5EF4-FFF2-40B4-BE49-F238E27FC236}">
                    <a16:creationId xmlns:a16="http://schemas.microsoft.com/office/drawing/2014/main" id="{2B54C710-E92E-42EC-A5BC-D19B34FCE203}"/>
                  </a:ext>
                </a:extLst>
              </p:cNvPr>
              <p:cNvSpPr>
                <a:spLocks noChangeShapeType="1"/>
              </p:cNvSpPr>
              <p:nvPr userDrawn="1"/>
            </p:nvSpPr>
            <p:spPr bwMode="gray">
              <a:xfrm>
                <a:off x="198474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29" name="Line 196">
                <a:extLst>
                  <a:ext uri="{FF2B5EF4-FFF2-40B4-BE49-F238E27FC236}">
                    <a16:creationId xmlns:a16="http://schemas.microsoft.com/office/drawing/2014/main" id="{FF691EAE-292C-449F-8D1E-2D5CC874386C}"/>
                  </a:ext>
                </a:extLst>
              </p:cNvPr>
              <p:cNvSpPr>
                <a:spLocks noChangeShapeType="1"/>
              </p:cNvSpPr>
              <p:nvPr userDrawn="1"/>
            </p:nvSpPr>
            <p:spPr bwMode="gray">
              <a:xfrm>
                <a:off x="652130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0" name="Line 198">
                <a:extLst>
                  <a:ext uri="{FF2B5EF4-FFF2-40B4-BE49-F238E27FC236}">
                    <a16:creationId xmlns:a16="http://schemas.microsoft.com/office/drawing/2014/main" id="{AF199973-2704-48FF-A912-EA8761F1B1F8}"/>
                  </a:ext>
                </a:extLst>
              </p:cNvPr>
              <p:cNvSpPr>
                <a:spLocks noChangeShapeType="1"/>
              </p:cNvSpPr>
              <p:nvPr userDrawn="1"/>
            </p:nvSpPr>
            <p:spPr bwMode="gray">
              <a:xfrm>
                <a:off x="425302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1" name="Line 200">
                <a:extLst>
                  <a:ext uri="{FF2B5EF4-FFF2-40B4-BE49-F238E27FC236}">
                    <a16:creationId xmlns:a16="http://schemas.microsoft.com/office/drawing/2014/main" id="{2179696C-55AB-4E4F-ADBB-4948CC78B640}"/>
                  </a:ext>
                </a:extLst>
              </p:cNvPr>
              <p:cNvSpPr>
                <a:spLocks noChangeShapeType="1"/>
              </p:cNvSpPr>
              <p:nvPr userDrawn="1"/>
            </p:nvSpPr>
            <p:spPr bwMode="gray">
              <a:xfrm>
                <a:off x="878958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2" name="Line 202">
                <a:extLst>
                  <a:ext uri="{FF2B5EF4-FFF2-40B4-BE49-F238E27FC236}">
                    <a16:creationId xmlns:a16="http://schemas.microsoft.com/office/drawing/2014/main" id="{E40B09A8-7B50-444C-83B4-D554757805EE}"/>
                  </a:ext>
                </a:extLst>
              </p:cNvPr>
              <p:cNvSpPr>
                <a:spLocks noChangeShapeType="1"/>
              </p:cNvSpPr>
              <p:nvPr userDrawn="1"/>
            </p:nvSpPr>
            <p:spPr bwMode="gray">
              <a:xfrm>
                <a:off x="102072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3" name="Line 204">
                <a:extLst>
                  <a:ext uri="{FF2B5EF4-FFF2-40B4-BE49-F238E27FC236}">
                    <a16:creationId xmlns:a16="http://schemas.microsoft.com/office/drawing/2014/main" id="{D732FBAA-714B-4123-B3AD-128CD9E0DD84}"/>
                  </a:ext>
                </a:extLst>
              </p:cNvPr>
              <p:cNvSpPr>
                <a:spLocks noChangeShapeType="1"/>
              </p:cNvSpPr>
              <p:nvPr userDrawn="1"/>
            </p:nvSpPr>
            <p:spPr bwMode="gray">
              <a:xfrm>
                <a:off x="1190847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4" name="Line 206">
                <a:extLst>
                  <a:ext uri="{FF2B5EF4-FFF2-40B4-BE49-F238E27FC236}">
                    <a16:creationId xmlns:a16="http://schemas.microsoft.com/office/drawing/2014/main" id="{F7F7F37E-EAA9-4AF9-A648-260135E2C4FC}"/>
                  </a:ext>
                </a:extLst>
              </p:cNvPr>
              <p:cNvSpPr>
                <a:spLocks noChangeShapeType="1"/>
              </p:cNvSpPr>
              <p:nvPr userDrawn="1"/>
            </p:nvSpPr>
            <p:spPr bwMode="gray">
              <a:xfrm>
                <a:off x="11341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5" name="Line 208">
                <a:extLst>
                  <a:ext uri="{FF2B5EF4-FFF2-40B4-BE49-F238E27FC236}">
                    <a16:creationId xmlns:a16="http://schemas.microsoft.com/office/drawing/2014/main" id="{6CEEFF4B-7BC7-4184-9070-E76E4FA33DD1}"/>
                  </a:ext>
                </a:extLst>
              </p:cNvPr>
              <p:cNvSpPr>
                <a:spLocks noChangeShapeType="1"/>
              </p:cNvSpPr>
              <p:nvPr userDrawn="1"/>
            </p:nvSpPr>
            <p:spPr bwMode="gray">
              <a:xfrm>
                <a:off x="56707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6" name="Line 210">
                <a:extLst>
                  <a:ext uri="{FF2B5EF4-FFF2-40B4-BE49-F238E27FC236}">
                    <a16:creationId xmlns:a16="http://schemas.microsoft.com/office/drawing/2014/main" id="{D89DBE56-4878-4D21-A3BA-D3EFD5A593F7}"/>
                  </a:ext>
                </a:extLst>
              </p:cNvPr>
              <p:cNvSpPr>
                <a:spLocks noChangeShapeType="1"/>
              </p:cNvSpPr>
              <p:nvPr userDrawn="1"/>
            </p:nvSpPr>
            <p:spPr bwMode="gray">
              <a:xfrm>
                <a:off x="34024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7" name="Line 212">
                <a:extLst>
                  <a:ext uri="{FF2B5EF4-FFF2-40B4-BE49-F238E27FC236}">
                    <a16:creationId xmlns:a16="http://schemas.microsoft.com/office/drawing/2014/main" id="{C78D6867-6999-46D0-9A27-ECD582B3900D}"/>
                  </a:ext>
                </a:extLst>
              </p:cNvPr>
              <p:cNvSpPr>
                <a:spLocks noChangeShapeType="1"/>
              </p:cNvSpPr>
              <p:nvPr userDrawn="1"/>
            </p:nvSpPr>
            <p:spPr bwMode="gray">
              <a:xfrm>
                <a:off x="79389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8" name="Line 214">
                <a:extLst>
                  <a:ext uri="{FF2B5EF4-FFF2-40B4-BE49-F238E27FC236}">
                    <a16:creationId xmlns:a16="http://schemas.microsoft.com/office/drawing/2014/main" id="{3802F2B0-7BEB-406D-8AF9-41D6B9145D6B}"/>
                  </a:ext>
                </a:extLst>
              </p:cNvPr>
              <p:cNvSpPr>
                <a:spLocks noChangeShapeType="1"/>
              </p:cNvSpPr>
              <p:nvPr userDrawn="1"/>
            </p:nvSpPr>
            <p:spPr bwMode="gray">
              <a:xfrm>
                <a:off x="935665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9" name="Line 216">
                <a:extLst>
                  <a:ext uri="{FF2B5EF4-FFF2-40B4-BE49-F238E27FC236}">
                    <a16:creationId xmlns:a16="http://schemas.microsoft.com/office/drawing/2014/main" id="{C51B818D-B4B1-4654-8686-D9E17B3DA80A}"/>
                  </a:ext>
                </a:extLst>
              </p:cNvPr>
              <p:cNvSpPr>
                <a:spLocks noChangeShapeType="1"/>
              </p:cNvSpPr>
              <p:nvPr userDrawn="1"/>
            </p:nvSpPr>
            <p:spPr bwMode="gray">
              <a:xfrm>
                <a:off x="1105786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0" name="Line 218">
                <a:extLst>
                  <a:ext uri="{FF2B5EF4-FFF2-40B4-BE49-F238E27FC236}">
                    <a16:creationId xmlns:a16="http://schemas.microsoft.com/office/drawing/2014/main" id="{DD1F1B93-C51D-4317-91EC-76B00D43A6E8}"/>
                  </a:ext>
                </a:extLst>
              </p:cNvPr>
              <p:cNvSpPr>
                <a:spLocks noChangeShapeType="1"/>
              </p:cNvSpPr>
              <p:nvPr userDrawn="1"/>
            </p:nvSpPr>
            <p:spPr bwMode="gray">
              <a:xfrm>
                <a:off x="226828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1" name="Line 220">
                <a:extLst>
                  <a:ext uri="{FF2B5EF4-FFF2-40B4-BE49-F238E27FC236}">
                    <a16:creationId xmlns:a16="http://schemas.microsoft.com/office/drawing/2014/main" id="{A83844EF-A052-420D-9690-6EFBA06FE49C}"/>
                  </a:ext>
                </a:extLst>
              </p:cNvPr>
              <p:cNvSpPr>
                <a:spLocks noChangeShapeType="1"/>
              </p:cNvSpPr>
              <p:nvPr userDrawn="1"/>
            </p:nvSpPr>
            <p:spPr bwMode="gray">
              <a:xfrm>
                <a:off x="680484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2" name="Line 222">
                <a:extLst>
                  <a:ext uri="{FF2B5EF4-FFF2-40B4-BE49-F238E27FC236}">
                    <a16:creationId xmlns:a16="http://schemas.microsoft.com/office/drawing/2014/main" id="{49368BDD-60B1-4FA4-853B-F287C51FF571}"/>
                  </a:ext>
                </a:extLst>
              </p:cNvPr>
              <p:cNvSpPr>
                <a:spLocks noChangeShapeType="1"/>
              </p:cNvSpPr>
              <p:nvPr userDrawn="1"/>
            </p:nvSpPr>
            <p:spPr bwMode="gray">
              <a:xfrm>
                <a:off x="453656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3" name="Line 224">
                <a:extLst>
                  <a:ext uri="{FF2B5EF4-FFF2-40B4-BE49-F238E27FC236}">
                    <a16:creationId xmlns:a16="http://schemas.microsoft.com/office/drawing/2014/main" id="{6418E1AB-5E13-4A8C-993A-58A72895D963}"/>
                  </a:ext>
                </a:extLst>
              </p:cNvPr>
              <p:cNvSpPr>
                <a:spLocks noChangeShapeType="1"/>
              </p:cNvSpPr>
              <p:nvPr userDrawn="1"/>
            </p:nvSpPr>
            <p:spPr bwMode="gray">
              <a:xfrm>
                <a:off x="907312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4" name="Line 226">
                <a:extLst>
                  <a:ext uri="{FF2B5EF4-FFF2-40B4-BE49-F238E27FC236}">
                    <a16:creationId xmlns:a16="http://schemas.microsoft.com/office/drawing/2014/main" id="{0A2FA256-C65F-49A2-996B-574C0526F7C5}"/>
                  </a:ext>
                </a:extLst>
              </p:cNvPr>
              <p:cNvSpPr>
                <a:spLocks noChangeShapeType="1"/>
              </p:cNvSpPr>
              <p:nvPr userDrawn="1"/>
            </p:nvSpPr>
            <p:spPr bwMode="gray">
              <a:xfrm>
                <a:off x="1077433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5" name="Line 228">
                <a:extLst>
                  <a:ext uri="{FF2B5EF4-FFF2-40B4-BE49-F238E27FC236}">
                    <a16:creationId xmlns:a16="http://schemas.microsoft.com/office/drawing/2014/main" id="{C2D490BA-E43F-4117-BEF2-0F52E0F71611}"/>
                  </a:ext>
                </a:extLst>
              </p:cNvPr>
              <p:cNvSpPr>
                <a:spLocks noChangeShapeType="1"/>
              </p:cNvSpPr>
              <p:nvPr userDrawn="1"/>
            </p:nvSpPr>
            <p:spPr bwMode="gray">
              <a:xfrm>
                <a:off x="10490795"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6" name="Line 146">
                <a:extLst>
                  <a:ext uri="{FF2B5EF4-FFF2-40B4-BE49-F238E27FC236}">
                    <a16:creationId xmlns:a16="http://schemas.microsoft.com/office/drawing/2014/main" id="{99EC5A6B-FC11-4D30-AC5E-3A9F8C6568EC}"/>
                  </a:ext>
                </a:extLst>
              </p:cNvPr>
              <p:cNvSpPr>
                <a:spLocks noChangeShapeType="1"/>
              </p:cNvSpPr>
              <p:nvPr userDrawn="1"/>
            </p:nvSpPr>
            <p:spPr bwMode="gray">
              <a:xfrm>
                <a:off x="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7" name="Line 204">
                <a:extLst>
                  <a:ext uri="{FF2B5EF4-FFF2-40B4-BE49-F238E27FC236}">
                    <a16:creationId xmlns:a16="http://schemas.microsoft.com/office/drawing/2014/main" id="{4E6B41D9-9BC9-478C-B1BF-4C79BDAFEBCF}"/>
                  </a:ext>
                </a:extLst>
              </p:cNvPr>
              <p:cNvSpPr>
                <a:spLocks noChangeShapeType="1"/>
              </p:cNvSpPr>
              <p:nvPr userDrawn="1"/>
            </p:nvSpPr>
            <p:spPr bwMode="gray">
              <a:xfrm>
                <a:off x="12192000" y="-319423"/>
                <a:ext cx="0" cy="232538"/>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grpSp>
        <p:grpSp>
          <p:nvGrpSpPr>
            <p:cNvPr id="248" name="Group 247">
              <a:extLst>
                <a:ext uri="{FF2B5EF4-FFF2-40B4-BE49-F238E27FC236}">
                  <a16:creationId xmlns:a16="http://schemas.microsoft.com/office/drawing/2014/main" id="{87136350-F161-4AE6-AB2A-BCD267B142B5}"/>
                </a:ext>
              </a:extLst>
            </p:cNvPr>
            <p:cNvGrpSpPr/>
            <p:nvPr userDrawn="1"/>
          </p:nvGrpSpPr>
          <p:grpSpPr bwMode="gray">
            <a:xfrm>
              <a:off x="12276481" y="0"/>
              <a:ext cx="240289" cy="6858000"/>
              <a:chOff x="-319714" y="0"/>
              <a:chExt cx="240289" cy="6858000"/>
            </a:xfrm>
          </p:grpSpPr>
          <p:sp>
            <p:nvSpPr>
              <p:cNvPr id="249" name="Line 230">
                <a:extLst>
                  <a:ext uri="{FF2B5EF4-FFF2-40B4-BE49-F238E27FC236}">
                    <a16:creationId xmlns:a16="http://schemas.microsoft.com/office/drawing/2014/main" id="{CD1D345E-2CAF-4CE3-8334-ED01F74C67BD}"/>
                  </a:ext>
                </a:extLst>
              </p:cNvPr>
              <p:cNvSpPr>
                <a:spLocks noChangeShapeType="1"/>
              </p:cNvSpPr>
              <p:nvPr userDrawn="1"/>
            </p:nvSpPr>
            <p:spPr bwMode="gray">
              <a:xfrm>
                <a:off x="-319714" y="2571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0" name="Line 232">
                <a:extLst>
                  <a:ext uri="{FF2B5EF4-FFF2-40B4-BE49-F238E27FC236}">
                    <a16:creationId xmlns:a16="http://schemas.microsoft.com/office/drawing/2014/main" id="{3B6E4022-59CC-4B7A-A1A9-81F611EFE102}"/>
                  </a:ext>
                </a:extLst>
              </p:cNvPr>
              <p:cNvSpPr>
                <a:spLocks noChangeShapeType="1"/>
              </p:cNvSpPr>
              <p:nvPr userDrawn="1"/>
            </p:nvSpPr>
            <p:spPr bwMode="gray">
              <a:xfrm>
                <a:off x="-319714" y="4857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1" name="Line 234">
                <a:extLst>
                  <a:ext uri="{FF2B5EF4-FFF2-40B4-BE49-F238E27FC236}">
                    <a16:creationId xmlns:a16="http://schemas.microsoft.com/office/drawing/2014/main" id="{628037D5-C480-47F0-9013-2ECD634820C1}"/>
                  </a:ext>
                </a:extLst>
              </p:cNvPr>
              <p:cNvSpPr>
                <a:spLocks noChangeShapeType="1"/>
              </p:cNvSpPr>
              <p:nvPr userDrawn="1"/>
            </p:nvSpPr>
            <p:spPr bwMode="gray">
              <a:xfrm>
                <a:off x="-319714" y="285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252" name="Line 236">
                <a:extLst>
                  <a:ext uri="{FF2B5EF4-FFF2-40B4-BE49-F238E27FC236}">
                    <a16:creationId xmlns:a16="http://schemas.microsoft.com/office/drawing/2014/main" id="{DBA468E2-B981-4F27-A826-0C4A5FF9D71A}"/>
                  </a:ext>
                </a:extLst>
              </p:cNvPr>
              <p:cNvSpPr>
                <a:spLocks noChangeShapeType="1"/>
              </p:cNvSpPr>
              <p:nvPr userDrawn="1"/>
            </p:nvSpPr>
            <p:spPr bwMode="gray">
              <a:xfrm>
                <a:off x="-319714" y="6000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3" name="Line 238">
                <a:extLst>
                  <a:ext uri="{FF2B5EF4-FFF2-40B4-BE49-F238E27FC236}">
                    <a16:creationId xmlns:a16="http://schemas.microsoft.com/office/drawing/2014/main" id="{E9D9F40E-8453-4242-8D65-FF9A1D18CEDF}"/>
                  </a:ext>
                </a:extLst>
              </p:cNvPr>
              <p:cNvSpPr>
                <a:spLocks noChangeShapeType="1"/>
              </p:cNvSpPr>
              <p:nvPr userDrawn="1"/>
            </p:nvSpPr>
            <p:spPr bwMode="gray">
              <a:xfrm>
                <a:off x="-319714" y="1428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4" name="Line 240">
                <a:extLst>
                  <a:ext uri="{FF2B5EF4-FFF2-40B4-BE49-F238E27FC236}">
                    <a16:creationId xmlns:a16="http://schemas.microsoft.com/office/drawing/2014/main" id="{227489E9-60E1-466A-B71F-1ACED01C1A4A}"/>
                  </a:ext>
                </a:extLst>
              </p:cNvPr>
              <p:cNvSpPr>
                <a:spLocks noChangeShapeType="1"/>
              </p:cNvSpPr>
              <p:nvPr userDrawn="1"/>
            </p:nvSpPr>
            <p:spPr bwMode="gray">
              <a:xfrm>
                <a:off x="-319714" y="37147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5" name="Line 244">
                <a:extLst>
                  <a:ext uri="{FF2B5EF4-FFF2-40B4-BE49-F238E27FC236}">
                    <a16:creationId xmlns:a16="http://schemas.microsoft.com/office/drawing/2014/main" id="{B5CCAAC7-8174-4200-A397-45C8D7D80EA0}"/>
                  </a:ext>
                </a:extLst>
              </p:cNvPr>
              <p:cNvSpPr>
                <a:spLocks noChangeShapeType="1"/>
              </p:cNvSpPr>
              <p:nvPr userDrawn="1"/>
            </p:nvSpPr>
            <p:spPr bwMode="gray">
              <a:xfrm>
                <a:off x="-319714" y="2286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6" name="Line 246">
                <a:extLst>
                  <a:ext uri="{FF2B5EF4-FFF2-40B4-BE49-F238E27FC236}">
                    <a16:creationId xmlns:a16="http://schemas.microsoft.com/office/drawing/2014/main" id="{D86C1CFE-8BFB-46A2-8127-E7DEFC21A110}"/>
                  </a:ext>
                </a:extLst>
              </p:cNvPr>
              <p:cNvSpPr>
                <a:spLocks noChangeShapeType="1"/>
              </p:cNvSpPr>
              <p:nvPr userDrawn="1"/>
            </p:nvSpPr>
            <p:spPr bwMode="gray">
              <a:xfrm>
                <a:off x="-319714" y="4572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7" name="Line 250">
                <a:extLst>
                  <a:ext uri="{FF2B5EF4-FFF2-40B4-BE49-F238E27FC236}">
                    <a16:creationId xmlns:a16="http://schemas.microsoft.com/office/drawing/2014/main" id="{56D39B38-C9FC-4A34-9954-1E1A7C259AAF}"/>
                  </a:ext>
                </a:extLst>
              </p:cNvPr>
              <p:cNvSpPr>
                <a:spLocks noChangeShapeType="1"/>
              </p:cNvSpPr>
              <p:nvPr userDrawn="1"/>
            </p:nvSpPr>
            <p:spPr bwMode="gray">
              <a:xfrm>
                <a:off x="-319714" y="5715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8" name="Line 252">
                <a:extLst>
                  <a:ext uri="{FF2B5EF4-FFF2-40B4-BE49-F238E27FC236}">
                    <a16:creationId xmlns:a16="http://schemas.microsoft.com/office/drawing/2014/main" id="{F0410102-824B-49B6-8DE2-58AEDF2D79C3}"/>
                  </a:ext>
                </a:extLst>
              </p:cNvPr>
              <p:cNvSpPr>
                <a:spLocks noChangeShapeType="1"/>
              </p:cNvSpPr>
              <p:nvPr userDrawn="1"/>
            </p:nvSpPr>
            <p:spPr bwMode="gray">
              <a:xfrm>
                <a:off x="-319714" y="1143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9" name="Line 254">
                <a:extLst>
                  <a:ext uri="{FF2B5EF4-FFF2-40B4-BE49-F238E27FC236}">
                    <a16:creationId xmlns:a16="http://schemas.microsoft.com/office/drawing/2014/main" id="{4A4A2A15-2B21-4765-BE1E-0F9D7ED5CC31}"/>
                  </a:ext>
                </a:extLst>
              </p:cNvPr>
              <p:cNvSpPr>
                <a:spLocks noChangeShapeType="1"/>
              </p:cNvSpPr>
              <p:nvPr userDrawn="1"/>
            </p:nvSpPr>
            <p:spPr bwMode="gray">
              <a:xfrm>
                <a:off x="-319714" y="3429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0" name="Line 256">
                <a:extLst>
                  <a:ext uri="{FF2B5EF4-FFF2-40B4-BE49-F238E27FC236}">
                    <a16:creationId xmlns:a16="http://schemas.microsoft.com/office/drawing/2014/main" id="{4882F819-9CC4-4170-B7D9-66F2614199FB}"/>
                  </a:ext>
                </a:extLst>
              </p:cNvPr>
              <p:cNvSpPr>
                <a:spLocks noChangeShapeType="1"/>
              </p:cNvSpPr>
              <p:nvPr userDrawn="1"/>
            </p:nvSpPr>
            <p:spPr bwMode="gray">
              <a:xfrm>
                <a:off x="-319714" y="6572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1" name="Line 258">
                <a:extLst>
                  <a:ext uri="{FF2B5EF4-FFF2-40B4-BE49-F238E27FC236}">
                    <a16:creationId xmlns:a16="http://schemas.microsoft.com/office/drawing/2014/main" id="{EA40A8CD-5143-4A7B-A0B3-50F8C9503F1C}"/>
                  </a:ext>
                </a:extLst>
              </p:cNvPr>
              <p:cNvSpPr>
                <a:spLocks noChangeShapeType="1"/>
              </p:cNvSpPr>
              <p:nvPr userDrawn="1"/>
            </p:nvSpPr>
            <p:spPr bwMode="gray">
              <a:xfrm>
                <a:off x="-319714" y="2000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2" name="Line 260">
                <a:extLst>
                  <a:ext uri="{FF2B5EF4-FFF2-40B4-BE49-F238E27FC236}">
                    <a16:creationId xmlns:a16="http://schemas.microsoft.com/office/drawing/2014/main" id="{F71CB355-B0EB-438D-A119-00A4993ACDE7}"/>
                  </a:ext>
                </a:extLst>
              </p:cNvPr>
              <p:cNvSpPr>
                <a:spLocks noChangeShapeType="1"/>
              </p:cNvSpPr>
              <p:nvPr userDrawn="1"/>
            </p:nvSpPr>
            <p:spPr bwMode="gray">
              <a:xfrm>
                <a:off x="-319714" y="4286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3" name="Line 262">
                <a:extLst>
                  <a:ext uri="{FF2B5EF4-FFF2-40B4-BE49-F238E27FC236}">
                    <a16:creationId xmlns:a16="http://schemas.microsoft.com/office/drawing/2014/main" id="{14A4B447-DF58-486C-BB91-1C3FDA53E87F}"/>
                  </a:ext>
                </a:extLst>
              </p:cNvPr>
              <p:cNvSpPr>
                <a:spLocks noChangeShapeType="1"/>
              </p:cNvSpPr>
              <p:nvPr userDrawn="1"/>
            </p:nvSpPr>
            <p:spPr bwMode="gray">
              <a:xfrm>
                <a:off x="-319714" y="5429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4" name="Line 264">
                <a:extLst>
                  <a:ext uri="{FF2B5EF4-FFF2-40B4-BE49-F238E27FC236}">
                    <a16:creationId xmlns:a16="http://schemas.microsoft.com/office/drawing/2014/main" id="{219BB3D5-F6C3-42C1-BDD9-2B748C625FA3}"/>
                  </a:ext>
                </a:extLst>
              </p:cNvPr>
              <p:cNvSpPr>
                <a:spLocks noChangeShapeType="1"/>
              </p:cNvSpPr>
              <p:nvPr userDrawn="1"/>
            </p:nvSpPr>
            <p:spPr bwMode="gray">
              <a:xfrm>
                <a:off x="-319714" y="857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5" name="Line 266">
                <a:extLst>
                  <a:ext uri="{FF2B5EF4-FFF2-40B4-BE49-F238E27FC236}">
                    <a16:creationId xmlns:a16="http://schemas.microsoft.com/office/drawing/2014/main" id="{569D7BF8-D9EE-4412-9D8B-28637A15537E}"/>
                  </a:ext>
                </a:extLst>
              </p:cNvPr>
              <p:cNvSpPr>
                <a:spLocks noChangeShapeType="1"/>
              </p:cNvSpPr>
              <p:nvPr userDrawn="1"/>
            </p:nvSpPr>
            <p:spPr bwMode="gray">
              <a:xfrm>
                <a:off x="-319714" y="314325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6" name="Line 268">
                <a:extLst>
                  <a:ext uri="{FF2B5EF4-FFF2-40B4-BE49-F238E27FC236}">
                    <a16:creationId xmlns:a16="http://schemas.microsoft.com/office/drawing/2014/main" id="{124E4B8B-C23C-4C6B-88F4-E4D6148A983F}"/>
                  </a:ext>
                </a:extLst>
              </p:cNvPr>
              <p:cNvSpPr>
                <a:spLocks noChangeShapeType="1"/>
              </p:cNvSpPr>
              <p:nvPr userDrawn="1"/>
            </p:nvSpPr>
            <p:spPr bwMode="gray">
              <a:xfrm>
                <a:off x="-319714" y="6286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7" name="Line 270">
                <a:extLst>
                  <a:ext uri="{FF2B5EF4-FFF2-40B4-BE49-F238E27FC236}">
                    <a16:creationId xmlns:a16="http://schemas.microsoft.com/office/drawing/2014/main" id="{50A552D0-5BE4-4C00-AE63-0E0E90178254}"/>
                  </a:ext>
                </a:extLst>
              </p:cNvPr>
              <p:cNvSpPr>
                <a:spLocks noChangeShapeType="1"/>
              </p:cNvSpPr>
              <p:nvPr userDrawn="1"/>
            </p:nvSpPr>
            <p:spPr bwMode="gray">
              <a:xfrm>
                <a:off x="-319714" y="1714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8" name="Line 272">
                <a:extLst>
                  <a:ext uri="{FF2B5EF4-FFF2-40B4-BE49-F238E27FC236}">
                    <a16:creationId xmlns:a16="http://schemas.microsoft.com/office/drawing/2014/main" id="{0D255ED6-6E73-4021-AC13-29328BB9E2A4}"/>
                  </a:ext>
                </a:extLst>
              </p:cNvPr>
              <p:cNvSpPr>
                <a:spLocks noChangeShapeType="1"/>
              </p:cNvSpPr>
              <p:nvPr userDrawn="1"/>
            </p:nvSpPr>
            <p:spPr bwMode="gray">
              <a:xfrm>
                <a:off x="-319714" y="4000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9" name="Line 274">
                <a:extLst>
                  <a:ext uri="{FF2B5EF4-FFF2-40B4-BE49-F238E27FC236}">
                    <a16:creationId xmlns:a16="http://schemas.microsoft.com/office/drawing/2014/main" id="{6F9BF373-D964-49B2-8258-E4513DCCC028}"/>
                  </a:ext>
                </a:extLst>
              </p:cNvPr>
              <p:cNvSpPr>
                <a:spLocks noChangeShapeType="1"/>
              </p:cNvSpPr>
              <p:nvPr userDrawn="1"/>
            </p:nvSpPr>
            <p:spPr bwMode="gray">
              <a:xfrm>
                <a:off x="-319714" y="5143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0" name="Line 276">
                <a:extLst>
                  <a:ext uri="{FF2B5EF4-FFF2-40B4-BE49-F238E27FC236}">
                    <a16:creationId xmlns:a16="http://schemas.microsoft.com/office/drawing/2014/main" id="{86477187-E02F-4E66-A775-DC19DCD6EBD3}"/>
                  </a:ext>
                </a:extLst>
              </p:cNvPr>
              <p:cNvSpPr>
                <a:spLocks noChangeShapeType="1"/>
              </p:cNvSpPr>
              <p:nvPr userDrawn="1"/>
            </p:nvSpPr>
            <p:spPr bwMode="gray">
              <a:xfrm>
                <a:off x="-319714" y="571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1" name="Line 278">
                <a:extLst>
                  <a:ext uri="{FF2B5EF4-FFF2-40B4-BE49-F238E27FC236}">
                    <a16:creationId xmlns:a16="http://schemas.microsoft.com/office/drawing/2014/main" id="{472827F0-1091-44E6-AFC4-62B20C419FD3}"/>
                  </a:ext>
                </a:extLst>
              </p:cNvPr>
              <p:cNvSpPr>
                <a:spLocks noChangeShapeType="1"/>
              </p:cNvSpPr>
              <p:nvPr userDrawn="1"/>
            </p:nvSpPr>
            <p:spPr bwMode="gray">
              <a:xfrm>
                <a:off x="-319714" y="28575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2" name="Line 256">
                <a:extLst>
                  <a:ext uri="{FF2B5EF4-FFF2-40B4-BE49-F238E27FC236}">
                    <a16:creationId xmlns:a16="http://schemas.microsoft.com/office/drawing/2014/main" id="{BCA05744-1201-4482-8476-28924479A734}"/>
                  </a:ext>
                </a:extLst>
              </p:cNvPr>
              <p:cNvSpPr>
                <a:spLocks noChangeShapeType="1"/>
              </p:cNvSpPr>
              <p:nvPr userDrawn="1"/>
            </p:nvSpPr>
            <p:spPr bwMode="gray">
              <a:xfrm>
                <a:off x="-319714" y="685800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3" name="Line 234">
                <a:extLst>
                  <a:ext uri="{FF2B5EF4-FFF2-40B4-BE49-F238E27FC236}">
                    <a16:creationId xmlns:a16="http://schemas.microsoft.com/office/drawing/2014/main" id="{F85459DB-D9E5-46DA-AEA9-18B327DC319B}"/>
                  </a:ext>
                </a:extLst>
              </p:cNvPr>
              <p:cNvSpPr>
                <a:spLocks noChangeShapeType="1"/>
              </p:cNvSpPr>
              <p:nvPr userDrawn="1"/>
            </p:nvSpPr>
            <p:spPr bwMode="gray">
              <a:xfrm>
                <a:off x="-319714" y="0"/>
                <a:ext cx="240289"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5" name="Footer Placeholder 4">
            <a:extLst>
              <a:ext uri="{FF2B5EF4-FFF2-40B4-BE49-F238E27FC236}">
                <a16:creationId xmlns:a16="http://schemas.microsoft.com/office/drawing/2014/main" id="{64562BC9-7258-4DEA-9BDE-C079C2C39A42}"/>
              </a:ext>
            </a:extLst>
          </p:cNvPr>
          <p:cNvSpPr>
            <a:spLocks noGrp="1"/>
          </p:cNvSpPr>
          <p:nvPr>
            <p:ph type="ftr" sz="quarter" idx="3"/>
          </p:nvPr>
        </p:nvSpPr>
        <p:spPr bwMode="gray">
          <a:xfrm>
            <a:off x="855030" y="6280563"/>
            <a:ext cx="5097600" cy="577438"/>
          </a:xfrm>
          <a:prstGeom prst="rect">
            <a:avLst/>
          </a:prstGeom>
        </p:spPr>
        <p:txBody>
          <a:bodyPr vert="horz" lIns="0" tIns="0" rIns="0" bIns="0" rtlCol="0" anchor="ctr" anchorCtr="0">
            <a:noAutofit/>
          </a:bodyPr>
          <a:lstStyle>
            <a:lvl1pPr algn="l">
              <a:lnSpc>
                <a:spcPct val="100000"/>
              </a:lnSpc>
              <a:defRPr sz="1000">
                <a:solidFill>
                  <a:schemeClr val="tx2"/>
                </a:solidFill>
              </a:defRPr>
            </a:lvl1pPr>
          </a:lstStyle>
          <a:p>
            <a:r>
              <a:rPr lang="nl-NL"/>
              <a:t>Behoefte functionele migratie SMZ</a:t>
            </a:r>
            <a:endParaRPr lang="en-GB" dirty="0"/>
          </a:p>
        </p:txBody>
      </p:sp>
      <p:sp>
        <p:nvSpPr>
          <p:cNvPr id="6" name="Slide Number Placeholder 5">
            <a:extLst>
              <a:ext uri="{FF2B5EF4-FFF2-40B4-BE49-F238E27FC236}">
                <a16:creationId xmlns:a16="http://schemas.microsoft.com/office/drawing/2014/main" id="{60260FDB-B4A5-47A6-9893-5DF35572C43A}"/>
              </a:ext>
            </a:extLst>
          </p:cNvPr>
          <p:cNvSpPr>
            <a:spLocks noGrp="1"/>
          </p:cNvSpPr>
          <p:nvPr>
            <p:ph type="sldNum" sz="quarter" idx="4"/>
          </p:nvPr>
        </p:nvSpPr>
        <p:spPr bwMode="gray">
          <a:xfrm>
            <a:off x="571500" y="6280563"/>
            <a:ext cx="283529" cy="577438"/>
          </a:xfrm>
          <a:prstGeom prst="rect">
            <a:avLst/>
          </a:prstGeom>
        </p:spPr>
        <p:txBody>
          <a:bodyPr vert="horz" lIns="0" tIns="0" rIns="0" bIns="0" rtlCol="0" anchor="ctr" anchorCtr="0">
            <a:noAutofit/>
          </a:bodyPr>
          <a:lstStyle>
            <a:lvl1pPr algn="l">
              <a:lnSpc>
                <a:spcPct val="100000"/>
              </a:lnSpc>
              <a:defRPr sz="1000">
                <a:solidFill>
                  <a:schemeClr val="tx2"/>
                </a:solidFill>
              </a:defRPr>
            </a:lvl1pPr>
          </a:lstStyle>
          <a:p>
            <a:fld id="{EEC0F82C-4994-47DA-8D9B-99D78D224F6D}" type="slidenum">
              <a:rPr lang="en-GB" smtClean="0"/>
              <a:pPr/>
              <a:t>‹nr.›</a:t>
            </a:fld>
            <a:endParaRPr lang="en-GB" dirty="0"/>
          </a:p>
        </p:txBody>
      </p:sp>
      <p:sp>
        <p:nvSpPr>
          <p:cNvPr id="10" name="Content Placeholder 1">
            <a:extLst>
              <a:ext uri="{FF2B5EF4-FFF2-40B4-BE49-F238E27FC236}">
                <a16:creationId xmlns:a16="http://schemas.microsoft.com/office/drawing/2014/main" id="{E918D77D-A7CA-465F-8719-55A97D7510F5}"/>
              </a:ext>
            </a:extLst>
          </p:cNvPr>
          <p:cNvSpPr txBox="1">
            <a:spLocks/>
          </p:cNvSpPr>
          <p:nvPr userDrawn="1"/>
        </p:nvSpPr>
        <p:spPr bwMode="gray">
          <a:xfrm>
            <a:off x="-3163456" y="422"/>
            <a:ext cx="3163455" cy="2342813"/>
          </a:xfrm>
          <a:prstGeom prst="rect">
            <a:avLst/>
          </a:prstGeom>
          <a:noFill/>
        </p:spPr>
        <p:txBody>
          <a:bodyPr vert="horz" lIns="0" tIns="0" rIns="432000" bIns="0" rtlCol="0">
            <a:noAutofit/>
          </a:bodyPr>
          <a:lstStyle>
            <a:lvl1pPr marL="0" indent="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None/>
              <a:defRPr sz="2400" b="0" kern="1200">
                <a:solidFill>
                  <a:schemeClr val="accent2"/>
                </a:solidFill>
                <a:latin typeface="+mj-lt"/>
                <a:ea typeface="+mn-ea"/>
                <a:cs typeface="+mn-cs"/>
              </a:defRPr>
            </a:lvl1pPr>
            <a:lvl2pPr marL="0" indent="0" algn="l" defTabSz="685800" rtl="0" eaLnBrk="1" latinLnBrk="0" hangingPunct="1">
              <a:lnSpc>
                <a:spcPct val="101000"/>
              </a:lnSpc>
              <a:spcBef>
                <a:spcPts val="0"/>
              </a:spcBef>
              <a:spcAft>
                <a:spcPts val="0"/>
              </a:spcAft>
              <a:buClr>
                <a:schemeClr val="accent2"/>
              </a:buClr>
              <a:buFont typeface="Nuon Matthew Light" panose="02000506040000020004" pitchFamily="50" charset="0"/>
              <a:buNone/>
              <a:defRPr sz="2400" b="0" kern="1200">
                <a:solidFill>
                  <a:schemeClr val="tx1"/>
                </a:solidFill>
                <a:latin typeface="+mn-lt"/>
                <a:ea typeface="+mn-ea"/>
                <a:cs typeface="+mn-cs"/>
              </a:defRPr>
            </a:lvl2pPr>
            <a:lvl3pPr marL="216000" indent="-216000" algn="l" defTabSz="685800" rtl="0" eaLnBrk="1" latinLnBrk="0" hangingPunct="1">
              <a:lnSpc>
                <a:spcPct val="101000"/>
              </a:lnSpc>
              <a:spcBef>
                <a:spcPts val="1500"/>
              </a:spcBef>
              <a:spcAft>
                <a:spcPts val="0"/>
              </a:spcAft>
              <a:buClr>
                <a:schemeClr val="accent1"/>
              </a:buClr>
              <a:buFont typeface="Nuon Matthew Light" panose="02000506040000020004" pitchFamily="50" charset="0"/>
              <a:buChar char="•"/>
              <a:defRPr sz="2400" b="0" kern="1200">
                <a:solidFill>
                  <a:schemeClr val="tx1"/>
                </a:solidFill>
                <a:latin typeface="+mn-lt"/>
                <a:ea typeface="+mn-ea"/>
                <a:cs typeface="+mn-cs"/>
              </a:defRPr>
            </a:lvl3pPr>
            <a:lvl4pPr marL="432000" indent="-216000" algn="l" defTabSz="685800" rtl="0" eaLnBrk="1" latinLnBrk="0" hangingPunct="1">
              <a:lnSpc>
                <a:spcPct val="101000"/>
              </a:lnSpc>
              <a:spcBef>
                <a:spcPts val="1500"/>
              </a:spcBef>
              <a:spcAft>
                <a:spcPts val="0"/>
              </a:spcAft>
              <a:buClr>
                <a:schemeClr val="accent2"/>
              </a:buClr>
              <a:buFont typeface="Nuon Matthew Light" panose="02000506040000020004" pitchFamily="50" charset="0"/>
              <a:buChar char="•"/>
              <a:defRPr sz="2400" b="0" kern="1200">
                <a:solidFill>
                  <a:schemeClr val="tx1"/>
                </a:solidFill>
                <a:latin typeface="+mn-lt"/>
                <a:ea typeface="+mn-ea"/>
                <a:cs typeface="+mn-cs"/>
              </a:defRPr>
            </a:lvl4pPr>
            <a:lvl5pPr marL="684000" indent="-216000" algn="l" defTabSz="685800" rtl="0" eaLnBrk="1" latinLnBrk="0" hangingPunct="1">
              <a:lnSpc>
                <a:spcPct val="101000"/>
              </a:lnSpc>
              <a:spcBef>
                <a:spcPts val="1500"/>
              </a:spcBef>
              <a:spcAft>
                <a:spcPts val="0"/>
              </a:spcAft>
              <a:buClr>
                <a:schemeClr val="accent3"/>
              </a:buClr>
              <a:buFont typeface="Nuon Matthew Light" panose="02000506040000020004" pitchFamily="50" charset="0"/>
              <a:buChar char="•"/>
              <a:defRPr sz="2400" b="0" kern="1200">
                <a:solidFill>
                  <a:schemeClr val="tx1"/>
                </a:solidFill>
                <a:latin typeface="+mn-lt"/>
                <a:ea typeface="+mn-ea"/>
                <a:cs typeface="+mn-cs"/>
              </a:defRPr>
            </a:lvl5pPr>
            <a:lvl6pPr marL="936000" indent="-216000" algn="l" defTabSz="685800" rtl="0" eaLnBrk="1" latinLnBrk="0" hangingPunct="1">
              <a:lnSpc>
                <a:spcPct val="101000"/>
              </a:lnSpc>
              <a:spcBef>
                <a:spcPts val="1500"/>
              </a:spcBef>
              <a:spcAft>
                <a:spcPts val="0"/>
              </a:spcAft>
              <a:buClr>
                <a:schemeClr val="accent4"/>
              </a:buClr>
              <a:buFont typeface="Arial" panose="020B0604020202020204" pitchFamily="34" charset="0"/>
              <a:buChar char="•"/>
              <a:defRPr sz="2400" kern="1200">
                <a:solidFill>
                  <a:schemeClr val="tx1"/>
                </a:solidFill>
                <a:latin typeface="+mn-lt"/>
                <a:ea typeface="+mn-ea"/>
                <a:cs typeface="+mn-cs"/>
              </a:defRPr>
            </a:lvl6pPr>
            <a:lvl7pPr marL="1224000" indent="-216000" algn="l" defTabSz="685800" rtl="0" eaLnBrk="1" latinLnBrk="0" hangingPunct="1">
              <a:lnSpc>
                <a:spcPct val="101000"/>
              </a:lnSpc>
              <a:spcBef>
                <a:spcPts val="1500"/>
              </a:spcBef>
              <a:spcAft>
                <a:spcPts val="0"/>
              </a:spcAft>
              <a:buClr>
                <a:schemeClr val="accent5"/>
              </a:buClr>
              <a:buFont typeface="Arial" panose="020B0604020202020204" pitchFamily="34" charset="0"/>
              <a:buChar char="•"/>
              <a:defRPr sz="2400" kern="1200">
                <a:solidFill>
                  <a:schemeClr val="tx1"/>
                </a:solidFill>
                <a:latin typeface="+mn-lt"/>
                <a:ea typeface="+mn-ea"/>
                <a:cs typeface="+mn-cs"/>
              </a:defRPr>
            </a:lvl7pPr>
            <a:lvl8pPr marL="1476000" indent="-216000" algn="l" defTabSz="685800" rtl="0" eaLnBrk="1" latinLnBrk="0" hangingPunct="1">
              <a:lnSpc>
                <a:spcPct val="101000"/>
              </a:lnSpc>
              <a:spcBef>
                <a:spcPts val="1500"/>
              </a:spcBef>
              <a:spcAft>
                <a:spcPts val="0"/>
              </a:spcAft>
              <a:buClr>
                <a:schemeClr val="accent6"/>
              </a:buClr>
              <a:buFont typeface="Arial" panose="020B0604020202020204" pitchFamily="34" charset="0"/>
              <a:buChar char="•"/>
              <a:defRPr sz="2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nl-NL" sz="1100" b="1" dirty="0">
                <a:solidFill>
                  <a:schemeClr val="tx1"/>
                </a:solidFill>
              </a:rPr>
              <a:t>Gebruik de UWV bullets met de button ‘Lijstniveau’.</a:t>
            </a:r>
          </a:p>
          <a:p>
            <a:pPr>
              <a:spcBef>
                <a:spcPts val="0"/>
              </a:spcBef>
            </a:pPr>
            <a:endParaRPr lang="nl-NL" sz="1100" b="1" dirty="0">
              <a:solidFill>
                <a:schemeClr val="tx1"/>
              </a:solidFill>
            </a:endParaRPr>
          </a:p>
          <a:p>
            <a:pPr marL="171450" lvl="0" indent="-171450">
              <a:spcBef>
                <a:spcPts val="0"/>
              </a:spcBef>
              <a:buFont typeface="Arial" panose="020B0604020202020204" pitchFamily="34" charset="0"/>
              <a:buChar char="•"/>
            </a:pPr>
            <a:r>
              <a:rPr lang="nl-NL" sz="1100" dirty="0">
                <a:solidFill>
                  <a:schemeClr val="tx1"/>
                </a:solidFill>
              </a:rPr>
              <a:t>Niveau 1: tekst zonder bullet</a:t>
            </a:r>
          </a:p>
          <a:p>
            <a:pPr marL="171450" lvl="0" indent="-171450">
              <a:spcBef>
                <a:spcPts val="0"/>
              </a:spcBef>
              <a:buFont typeface="Arial" panose="020B0604020202020204" pitchFamily="34" charset="0"/>
              <a:buChar char="•"/>
            </a:pPr>
            <a:r>
              <a:rPr lang="nl-NL" sz="1100" dirty="0">
                <a:solidFill>
                  <a:schemeClr val="tx1"/>
                </a:solidFill>
              </a:rPr>
              <a:t>Niveau 2 t/m 5: tekst met bullets</a:t>
            </a:r>
          </a:p>
          <a:p>
            <a:pPr marL="171450" lvl="0" indent="-171450">
              <a:spcBef>
                <a:spcPts val="0"/>
              </a:spcBef>
              <a:buFont typeface="Arial" panose="020B0604020202020204" pitchFamily="34" charset="0"/>
              <a:buChar char="•"/>
            </a:pPr>
            <a:endParaRPr lang="nl-NL" sz="1100" dirty="0">
              <a:solidFill>
                <a:schemeClr val="tx1"/>
              </a:solidFill>
            </a:endParaRPr>
          </a:p>
          <a:p>
            <a:pPr lvl="0">
              <a:spcBef>
                <a:spcPts val="0"/>
              </a:spcBef>
            </a:pPr>
            <a:r>
              <a:rPr lang="nl-NL" sz="1100" dirty="0">
                <a:solidFill>
                  <a:schemeClr val="tx1"/>
                </a:solidFill>
              </a:rPr>
              <a:t>Typ je tekst op de eerste tekstregel. Vergeet nu de standaard button voor bullets (rode kruis). </a:t>
            </a:r>
          </a:p>
          <a:p>
            <a:pPr lvl="0">
              <a:spcBef>
                <a:spcPts val="0"/>
              </a:spcBef>
            </a:pPr>
            <a:r>
              <a:rPr lang="nl-NL" sz="1100" dirty="0">
                <a:solidFill>
                  <a:schemeClr val="tx1"/>
                </a:solidFill>
              </a:rPr>
              <a:t>Klik op het pijltje naar links en je verlaagt het tekstniveau. Klik op het pijltje naar rechts en je verhoogt het tekstniveau. </a:t>
            </a:r>
          </a:p>
          <a:p>
            <a:pPr>
              <a:spcBef>
                <a:spcPts val="0"/>
              </a:spcBef>
            </a:pPr>
            <a:endParaRPr lang="nl-NL" sz="1200" dirty="0">
              <a:solidFill>
                <a:schemeClr val="tx1"/>
              </a:solidFill>
            </a:endParaRPr>
          </a:p>
        </p:txBody>
      </p:sp>
      <p:pic>
        <p:nvPicPr>
          <p:cNvPr id="11" name="Afbeelding 25">
            <a:extLst>
              <a:ext uri="{FF2B5EF4-FFF2-40B4-BE49-F238E27FC236}">
                <a16:creationId xmlns:a16="http://schemas.microsoft.com/office/drawing/2014/main" id="{10D60BFC-7F31-4367-9DFC-324A637126FF}"/>
              </a:ext>
            </a:extLst>
          </p:cNvPr>
          <p:cNvPicPr>
            <a:picLocks/>
          </p:cNvPicPr>
          <p:nvPr userDrawn="1"/>
        </p:nvPicPr>
        <p:blipFill rotWithShape="1">
          <a:blip r:embed="rId21"/>
          <a:srcRect l="15744" t="27663" r="17943" b="39396"/>
          <a:stretch/>
        </p:blipFill>
        <p:spPr bwMode="gray">
          <a:xfrm>
            <a:off x="-3163455" y="2278596"/>
            <a:ext cx="2686285" cy="750607"/>
          </a:xfrm>
          <a:prstGeom prst="rect">
            <a:avLst/>
          </a:prstGeom>
          <a:noFill/>
          <a:ln>
            <a:noFill/>
          </a:ln>
          <a:extLst>
            <a:ext uri="{53640926-AAD7-44D8-BBD7-CCE9431645EC}">
              <a14:shadowObscured xmlns:a14="http://schemas.microsoft.com/office/drawing/2010/main"/>
            </a:ext>
          </a:extLst>
        </p:spPr>
      </p:pic>
      <p:sp>
        <p:nvSpPr>
          <p:cNvPr id="7" name="Text Placeholder 6">
            <a:extLst>
              <a:ext uri="{FF2B5EF4-FFF2-40B4-BE49-F238E27FC236}">
                <a16:creationId xmlns:a16="http://schemas.microsoft.com/office/drawing/2014/main" id="{4633B522-924E-4097-8F7C-82F110CF9209}"/>
              </a:ext>
            </a:extLst>
          </p:cNvPr>
          <p:cNvSpPr>
            <a:spLocks noGrp="1"/>
          </p:cNvSpPr>
          <p:nvPr userDrawn="1">
            <p:ph type="body" idx="1"/>
          </p:nvPr>
        </p:nvSpPr>
        <p:spPr bwMode="gray">
          <a:xfrm>
            <a:off x="571500" y="1531538"/>
            <a:ext cx="11049000" cy="4566064"/>
          </a:xfrm>
          <a:prstGeom prst="rect">
            <a:avLst/>
          </a:prstGeom>
        </p:spPr>
        <p:txBody>
          <a:bodyPr vert="horz" lIns="0" tIns="0" rIns="0" bIns="0" rtlCol="0">
            <a:noAutofit/>
          </a:bodyPr>
          <a:lstStyle/>
          <a:p>
            <a:pPr lvl="0"/>
            <a:r>
              <a:rPr lang="nl-NL" noProof="0" dirty="0"/>
              <a:t>Niveau 1</a:t>
            </a:r>
          </a:p>
          <a:p>
            <a:pPr lvl="1"/>
            <a:r>
              <a:rPr lang="nl-NL" noProof="0" dirty="0"/>
              <a:t>Niveau 2</a:t>
            </a:r>
          </a:p>
          <a:p>
            <a:pPr lvl="2"/>
            <a:r>
              <a:rPr lang="nl-NL" noProof="0" dirty="0"/>
              <a:t>Niveau 3</a:t>
            </a:r>
          </a:p>
          <a:p>
            <a:pPr lvl="3"/>
            <a:r>
              <a:rPr lang="nl-NL" noProof="0" dirty="0"/>
              <a:t>Niveau 4</a:t>
            </a:r>
          </a:p>
          <a:p>
            <a:pPr lvl="4"/>
            <a:r>
              <a:rPr lang="nl-NL" noProof="0" dirty="0"/>
              <a:t>Niveau 5</a:t>
            </a:r>
          </a:p>
          <a:p>
            <a:pPr lvl="5"/>
            <a:r>
              <a:rPr lang="nl-NL" noProof="0" dirty="0"/>
              <a:t>Niveau 6</a:t>
            </a:r>
          </a:p>
          <a:p>
            <a:pPr lvl="6"/>
            <a:r>
              <a:rPr lang="nl-NL" noProof="0" dirty="0"/>
              <a:t>Niveau 7</a:t>
            </a:r>
          </a:p>
          <a:p>
            <a:pPr lvl="7"/>
            <a:r>
              <a:rPr lang="nl-NL" noProof="0" dirty="0"/>
              <a:t>Niveau 8</a:t>
            </a:r>
          </a:p>
          <a:p>
            <a:pPr lvl="8"/>
            <a:r>
              <a:rPr lang="nl-NL" noProof="0" dirty="0"/>
              <a:t>Niveau 9</a:t>
            </a:r>
          </a:p>
        </p:txBody>
      </p:sp>
      <p:sp>
        <p:nvSpPr>
          <p:cNvPr id="12" name="Title Placeholder 11">
            <a:extLst>
              <a:ext uri="{FF2B5EF4-FFF2-40B4-BE49-F238E27FC236}">
                <a16:creationId xmlns:a16="http://schemas.microsoft.com/office/drawing/2014/main" id="{150BF419-8B74-4D04-B0E8-49FE4CC683C8}"/>
              </a:ext>
            </a:extLst>
          </p:cNvPr>
          <p:cNvSpPr>
            <a:spLocks noGrp="1"/>
          </p:cNvSpPr>
          <p:nvPr userDrawn="1">
            <p:ph type="title"/>
          </p:nvPr>
        </p:nvSpPr>
        <p:spPr bwMode="gray">
          <a:xfrm>
            <a:off x="571500" y="285752"/>
            <a:ext cx="11049000" cy="1238248"/>
          </a:xfrm>
          <a:prstGeom prst="rect">
            <a:avLst/>
          </a:prstGeom>
        </p:spPr>
        <p:txBody>
          <a:bodyPr vert="horz" lIns="0" tIns="0" rIns="0" bIns="0" rtlCol="0" anchor="t" anchorCtr="0">
            <a:noAutofit/>
          </a:bodyPr>
          <a:lstStyle/>
          <a:p>
            <a:r>
              <a:rPr lang="nl-NL" dirty="0"/>
              <a:t>Klik om de titel aan te passen</a:t>
            </a:r>
            <a:endParaRPr lang="nl-NL" noProof="0" dirty="0"/>
          </a:p>
        </p:txBody>
      </p:sp>
      <p:sp>
        <p:nvSpPr>
          <p:cNvPr id="157" name="Text Placeholder 3">
            <a:extLst>
              <a:ext uri="{FF2B5EF4-FFF2-40B4-BE49-F238E27FC236}">
                <a16:creationId xmlns:a16="http://schemas.microsoft.com/office/drawing/2014/main" id="{1654D9CB-7204-4471-AF30-3FA9695FC877}"/>
              </a:ext>
            </a:extLst>
          </p:cNvPr>
          <p:cNvSpPr txBox="1">
            <a:spLocks/>
          </p:cNvSpPr>
          <p:nvPr userDrawn="1"/>
        </p:nvSpPr>
        <p:spPr bwMode="gray">
          <a:xfrm>
            <a:off x="11047668" y="6285600"/>
            <a:ext cx="572400" cy="572400"/>
          </a:xfrm>
          <a:prstGeom prst="rect">
            <a:avLst/>
          </a:prstGeom>
          <a:blipFill>
            <a:blip r:embed="rId22"/>
            <a:stretch>
              <a:fillRect/>
            </a:stretch>
          </a:blipFill>
        </p:spPr>
        <p:txBody>
          <a:bodyPr/>
          <a:lstStyle>
            <a:lvl1pPr marL="0" indent="0" algn="l" defTabSz="914400" rtl="0" eaLnBrk="1" latinLnBrk="0" hangingPunct="1">
              <a:lnSpc>
                <a:spcPct val="110000"/>
              </a:lnSpc>
              <a:spcBef>
                <a:spcPts val="0"/>
              </a:spcBef>
              <a:spcAft>
                <a:spcPts val="300"/>
              </a:spcAft>
              <a:buClr>
                <a:schemeClr val="tx2"/>
              </a:buClr>
              <a:buFont typeface="Arial" panose="020B0604020202020204" pitchFamily="34" charset="0"/>
              <a:buNone/>
              <a:defRPr lang="nl-NL" sz="12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2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a:t>    </a:t>
            </a:r>
          </a:p>
        </p:txBody>
      </p:sp>
    </p:spTree>
    <p:extLst>
      <p:ext uri="{BB962C8B-B14F-4D97-AF65-F5344CB8AC3E}">
        <p14:creationId xmlns:p14="http://schemas.microsoft.com/office/powerpoint/2010/main" val="166180058"/>
      </p:ext>
    </p:extLst>
  </p:cSld>
  <p:clrMap bg1="lt1" tx1="dk1" bg2="lt2" tx2="dk2" accent1="accent1" accent2="accent2" accent3="accent3" accent4="accent4" accent5="accent5" accent6="accent6" hlink="hlink" folHlink="folHlink"/>
  <p:sldLayoutIdLst>
    <p:sldLayoutId id="2147483666" r:id="rId1"/>
    <p:sldLayoutId id="2147483649" r:id="rId2"/>
    <p:sldLayoutId id="2147483655" r:id="rId3"/>
    <p:sldLayoutId id="2147483657" r:id="rId4"/>
    <p:sldLayoutId id="2147483650" r:id="rId5"/>
    <p:sldLayoutId id="2147483652" r:id="rId6"/>
    <p:sldLayoutId id="2147483663" r:id="rId7"/>
    <p:sldLayoutId id="2147483653" r:id="rId8"/>
    <p:sldLayoutId id="2147483658" r:id="rId9"/>
    <p:sldLayoutId id="2147483662" r:id="rId10"/>
    <p:sldLayoutId id="2147483654" r:id="rId11"/>
    <p:sldLayoutId id="2147483667" r:id="rId12"/>
    <p:sldLayoutId id="2147483661" r:id="rId13"/>
    <p:sldLayoutId id="2147483665" r:id="rId14"/>
    <p:sldLayoutId id="2147483664" r:id="rId15"/>
  </p:sldLayoutIdLst>
  <p:hf hdr="0" dt="0"/>
  <p:txStyles>
    <p:titleStyle>
      <a:lvl1pPr algn="l" defTabSz="914400" rtl="0" eaLnBrk="1" latinLnBrk="0" hangingPunct="1">
        <a:lnSpc>
          <a:spcPct val="100000"/>
        </a:lnSpc>
        <a:spcBef>
          <a:spcPct val="0"/>
        </a:spcBef>
        <a:buNone/>
        <a:defRPr sz="2400" b="1" kern="1200">
          <a:solidFill>
            <a:schemeClr val="tx2"/>
          </a:solidFill>
          <a:latin typeface="+mj-lt"/>
          <a:ea typeface="+mj-ea"/>
          <a:cs typeface="+mj-cs"/>
        </a:defRPr>
      </a:lvl1pPr>
    </p:titleStyle>
    <p:bodyStyle>
      <a:lvl1pPr marL="1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2000" kern="1200" dirty="0">
          <a:solidFill>
            <a:schemeClr val="tx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20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8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8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0" userDrawn="1">
          <p15:clr>
            <a:srgbClr val="F26B43"/>
          </p15:clr>
        </p15:guide>
        <p15:guide id="2" pos="7320" userDrawn="1">
          <p15:clr>
            <a:srgbClr val="F26B43"/>
          </p15:clr>
        </p15:guide>
        <p15:guide id="3" orient="horz" pos="4140" userDrawn="1">
          <p15:clr>
            <a:srgbClr val="F26B43"/>
          </p15:clr>
        </p15:guide>
        <p15:guide id="4" orient="horz" pos="180" userDrawn="1">
          <p15:clr>
            <a:srgbClr val="F26B43"/>
          </p15:clr>
        </p15:guide>
        <p15:guide id="5" pos="7142" userDrawn="1">
          <p15:clr>
            <a:srgbClr val="F26B43"/>
          </p15:clr>
        </p15:guide>
        <p15:guide id="6" orient="horz" pos="960" userDrawn="1">
          <p15:clr>
            <a:srgbClr val="F26B43"/>
          </p15:clr>
        </p15:guide>
        <p15:guide id="7" orient="horz" pos="3846" userDrawn="1">
          <p15:clr>
            <a:srgbClr val="F26B43"/>
          </p15:clr>
        </p15:guide>
        <p15:guide id="8" pos="6606" userDrawn="1">
          <p15:clr>
            <a:srgbClr val="F26B43"/>
          </p15:clr>
        </p15:guide>
        <p15:guide id="9" orient="horz" pos="3780" userDrawn="1">
          <p15:clr>
            <a:srgbClr val="F26B43"/>
          </p15:clr>
        </p15:guide>
        <p15:guide id="10" pos="36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jp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430343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hoek 4" hidden="1"/>
          <p:cNvSpPr/>
          <p:nvPr>
            <p:custDataLst>
              <p:tags r:id="rId2"/>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3600" b="1" dirty="0">
              <a:solidFill>
                <a:schemeClr val="tx1"/>
              </a:solidFill>
              <a:latin typeface="Verdana" panose="020B0604030504040204" pitchFamily="34" charset="0"/>
              <a:ea typeface="+mj-ea"/>
              <a:cs typeface="+mj-cs"/>
              <a:sym typeface="Verdana" panose="020B0604030504040204" pitchFamily="34" charset="0"/>
            </a:endParaRPr>
          </a:p>
        </p:txBody>
      </p:sp>
      <p:sp>
        <p:nvSpPr>
          <p:cNvPr id="3" name="Title 2">
            <a:extLst>
              <a:ext uri="{FF2B5EF4-FFF2-40B4-BE49-F238E27FC236}">
                <a16:creationId xmlns:a16="http://schemas.microsoft.com/office/drawing/2014/main" id="{E05DC41A-E8FA-4007-8FBB-4EEF7D595CB8}"/>
              </a:ext>
            </a:extLst>
          </p:cNvPr>
          <p:cNvSpPr>
            <a:spLocks noGrp="1"/>
          </p:cNvSpPr>
          <p:nvPr>
            <p:ph type="ctrTitle"/>
          </p:nvPr>
        </p:nvSpPr>
        <p:spPr>
          <a:xfrm>
            <a:off x="283534" y="3978534"/>
            <a:ext cx="9323762" cy="1450716"/>
          </a:xfrm>
        </p:spPr>
        <p:txBody>
          <a:bodyPr vert="horz"/>
          <a:lstStyle/>
          <a:p>
            <a:r>
              <a:rPr lang="nl-NL" dirty="0"/>
              <a:t>Eisen en wensen SMZ voor Datafabriek</a:t>
            </a:r>
          </a:p>
        </p:txBody>
      </p:sp>
      <p:sp>
        <p:nvSpPr>
          <p:cNvPr id="4" name="Text Placeholder 3">
            <a:extLst>
              <a:ext uri="{FF2B5EF4-FFF2-40B4-BE49-F238E27FC236}">
                <a16:creationId xmlns:a16="http://schemas.microsoft.com/office/drawing/2014/main" id="{9F0D4D0F-DD1E-4940-9472-709C959A3AD3}"/>
              </a:ext>
            </a:extLst>
          </p:cNvPr>
          <p:cNvSpPr>
            <a:spLocks noGrp="1"/>
          </p:cNvSpPr>
          <p:nvPr>
            <p:ph type="body" sz="quarter" idx="10"/>
          </p:nvPr>
        </p:nvSpPr>
        <p:spPr>
          <a:xfrm>
            <a:off x="283534" y="5724331"/>
            <a:ext cx="4820075" cy="365466"/>
          </a:xfrm>
        </p:spPr>
        <p:txBody>
          <a:bodyPr/>
          <a:lstStyle/>
          <a:p>
            <a:r>
              <a:rPr lang="nl-NL" dirty="0"/>
              <a:t>Hannie van Dijk, 31 augustus 2021</a:t>
            </a:r>
          </a:p>
        </p:txBody>
      </p:sp>
      <p:pic>
        <p:nvPicPr>
          <p:cNvPr id="9" name="Tijdelijke aanduiding voor afbeelding 5"/>
          <p:cNvPicPr>
            <a:picLocks noGrp="1" noChangeAspect="1"/>
          </p:cNvPicPr>
          <p:nvPr>
            <p:ph type="pic" sz="quarter" idx="14"/>
          </p:nvPr>
        </p:nvPicPr>
        <p:blipFill>
          <a:blip r:embed="rId7">
            <a:extLst>
              <a:ext uri="{28A0092B-C50C-407E-A947-70E740481C1C}">
                <a14:useLocalDpi xmlns:a14="http://schemas.microsoft.com/office/drawing/2010/main" val="0"/>
              </a:ext>
            </a:extLst>
          </a:blip>
          <a:srcRect l="3326" r="3326"/>
          <a:stretch>
            <a:fillRect/>
          </a:stretch>
        </p:blipFill>
        <p:spPr/>
      </p:pic>
      <p:sp>
        <p:nvSpPr>
          <p:cNvPr id="10" name="Titel 2"/>
          <p:cNvSpPr txBox="1">
            <a:spLocks/>
          </p:cNvSpPr>
          <p:nvPr/>
        </p:nvSpPr>
        <p:spPr bwMode="gray">
          <a:xfrm>
            <a:off x="283535" y="4606398"/>
            <a:ext cx="8506050" cy="822852"/>
          </a:xfrm>
          <a:prstGeom prst="rect">
            <a:avLst/>
          </a:prstGeom>
          <a:solidFill>
            <a:schemeClr val="tx2"/>
          </a:solidFill>
        </p:spPr>
        <p:txBody>
          <a:bodyPr vert="horz" wrap="square" lIns="284400" tIns="251999" rIns="251999" bIns="251999" rtlCol="0" anchor="b" anchorCtr="0">
            <a:spAutoFit/>
          </a:bodyPr>
          <a:lstStyle>
            <a:lvl1pPr algn="l" defTabSz="914400" rtl="0" eaLnBrk="1" latinLnBrk="0" hangingPunct="1">
              <a:lnSpc>
                <a:spcPct val="85000"/>
              </a:lnSpc>
              <a:spcBef>
                <a:spcPts val="600"/>
              </a:spcBef>
              <a:buNone/>
              <a:defRPr sz="3600" b="1" kern="1100" baseline="0">
                <a:solidFill>
                  <a:schemeClr val="bg1"/>
                </a:solidFill>
                <a:latin typeface="+mj-lt"/>
                <a:ea typeface="+mj-ea"/>
                <a:cs typeface="+mj-cs"/>
              </a:defRPr>
            </a:lvl1pPr>
          </a:lstStyle>
          <a:p>
            <a:r>
              <a:rPr lang="nl-NL" sz="2400" dirty="0"/>
              <a:t>Behoefte functionele migratie SMZ</a:t>
            </a:r>
          </a:p>
        </p:txBody>
      </p:sp>
      <p:sp>
        <p:nvSpPr>
          <p:cNvPr id="11" name="Tijdelijke aanduiding voor tekst 3"/>
          <p:cNvSpPr txBox="1">
            <a:spLocks/>
          </p:cNvSpPr>
          <p:nvPr/>
        </p:nvSpPr>
        <p:spPr bwMode="gray">
          <a:xfrm>
            <a:off x="283534" y="5724331"/>
            <a:ext cx="4820075" cy="345013"/>
          </a:xfrm>
          <a:prstGeom prst="rect">
            <a:avLst/>
          </a:prstGeom>
          <a:solidFill>
            <a:schemeClr val="accent2"/>
          </a:solidFill>
        </p:spPr>
        <p:txBody>
          <a:bodyPr vert="horz" lIns="284400" tIns="72000" rIns="108000" bIns="72000" rtlCol="0" anchor="t" anchorCtr="0">
            <a:spAutoFit/>
          </a:bodyPr>
          <a:lstStyle>
            <a:lvl1pPr marL="0" indent="0" algn="l" defTabSz="914400" rtl="0" eaLnBrk="1" latinLnBrk="0" hangingPunct="1">
              <a:lnSpc>
                <a:spcPct val="110000"/>
              </a:lnSpc>
              <a:spcBef>
                <a:spcPts val="0"/>
              </a:spcBef>
              <a:spcAft>
                <a:spcPts val="0"/>
              </a:spcAft>
              <a:buClr>
                <a:schemeClr val="tx2"/>
              </a:buClr>
              <a:buFont typeface="Arial" panose="020B0604020202020204" pitchFamily="34" charset="0"/>
              <a:buNone/>
              <a:defRPr lang="nl-NL" sz="1300" kern="1200">
                <a:solidFill>
                  <a:schemeClr val="bg1"/>
                </a:solidFill>
                <a:latin typeface="+mn-lt"/>
                <a:ea typeface="+mn-ea"/>
                <a:cs typeface="+mn-cs"/>
              </a:defRPr>
            </a:lvl1pPr>
            <a:lvl2pPr marL="36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2000" kern="1200" dirty="0">
                <a:solidFill>
                  <a:schemeClr val="tx1"/>
                </a:solidFill>
                <a:latin typeface="+mn-lt"/>
                <a:ea typeface="+mn-ea"/>
                <a:cs typeface="+mn-cs"/>
              </a:defRPr>
            </a:lvl2pPr>
            <a:lvl3pPr marL="5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800" kern="1200" dirty="0">
                <a:solidFill>
                  <a:schemeClr val="tx1"/>
                </a:solidFill>
                <a:latin typeface="+mn-lt"/>
                <a:ea typeface="+mn-ea"/>
                <a:cs typeface="+mn-cs"/>
              </a:defRPr>
            </a:lvl3pPr>
            <a:lvl4pPr marL="72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800" kern="1200">
                <a:solidFill>
                  <a:schemeClr val="tx1"/>
                </a:solidFill>
                <a:latin typeface="+mn-lt"/>
                <a:ea typeface="+mn-ea"/>
                <a:cs typeface="+mn-cs"/>
              </a:defRPr>
            </a:lvl4pPr>
            <a:lvl5pPr marL="90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5pPr>
            <a:lvl6pPr marL="108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lang="nl-NL" sz="1600" kern="1200" dirty="0">
                <a:solidFill>
                  <a:schemeClr val="tx1"/>
                </a:solidFill>
                <a:latin typeface="+mn-lt"/>
                <a:ea typeface="+mn-ea"/>
                <a:cs typeface="+mn-cs"/>
              </a:defRPr>
            </a:lvl6pPr>
            <a:lvl7pPr marL="1257300" marR="0" indent="-179388" algn="l" defTabSz="914400" rtl="0" eaLnBrk="1" fontAlgn="auto" latinLnBrk="0" hangingPunct="1">
              <a:lnSpc>
                <a:spcPct val="110000"/>
              </a:lnSpc>
              <a:spcBef>
                <a:spcPts val="0"/>
              </a:spcBef>
              <a:spcAft>
                <a:spcPts val="300"/>
              </a:spcAft>
              <a:buClr>
                <a:schemeClr val="tx2"/>
              </a:buClr>
              <a:buSzTx/>
              <a:buFont typeface="Arial" panose="020B0604020202020204" pitchFamily="34" charset="0"/>
              <a:buChar char="–"/>
              <a:tabLst/>
              <a:defRPr sz="1400" kern="1200">
                <a:solidFill>
                  <a:schemeClr val="tx1"/>
                </a:solidFill>
                <a:latin typeface="+mn-lt"/>
                <a:ea typeface="+mn-ea"/>
                <a:cs typeface="+mn-cs"/>
              </a:defRPr>
            </a:lvl7pPr>
            <a:lvl8pPr marL="1440000" indent="-180000"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8pPr>
            <a:lvl9pPr marL="1619250" indent="-179388" algn="l" defTabSz="914400" rtl="0" eaLnBrk="1" latinLnBrk="0" hangingPunct="1">
              <a:lnSpc>
                <a:spcPct val="110000"/>
              </a:lnSpc>
              <a:spcBef>
                <a:spcPts val="0"/>
              </a:spcBef>
              <a:spcAft>
                <a:spcPts val="300"/>
              </a:spcAft>
              <a:buClr>
                <a:schemeClr val="tx2"/>
              </a:buClr>
              <a:buFont typeface="Arial" panose="020B0604020202020204" pitchFamily="34" charset="0"/>
              <a:buChar char="–"/>
              <a:defRPr sz="1400" kern="1200">
                <a:solidFill>
                  <a:schemeClr val="tx1"/>
                </a:solidFill>
                <a:latin typeface="+mn-lt"/>
                <a:ea typeface="+mn-ea"/>
                <a:cs typeface="+mn-cs"/>
              </a:defRPr>
            </a:lvl9pPr>
          </a:lstStyle>
          <a:p>
            <a:r>
              <a:rPr lang="nl-NL" dirty="0"/>
              <a:t>SMZ, Juli 2022</a:t>
            </a:r>
          </a:p>
        </p:txBody>
      </p:sp>
    </p:spTree>
    <p:extLst>
      <p:ext uri="{BB962C8B-B14F-4D97-AF65-F5344CB8AC3E}">
        <p14:creationId xmlns:p14="http://schemas.microsoft.com/office/powerpoint/2010/main" val="8892365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sz="quarter" idx="15"/>
          </p:nvPr>
        </p:nvSpPr>
        <p:spPr/>
        <p:txBody>
          <a:bodyPr/>
          <a:lstStyle/>
          <a:p>
            <a:pPr marL="0" indent="0">
              <a:buNone/>
            </a:pPr>
            <a:r>
              <a:rPr lang="nl-NL" b="1" dirty="0"/>
              <a:t>NIET</a:t>
            </a:r>
          </a:p>
          <a:p>
            <a:r>
              <a:rPr lang="nl-NL" sz="1600" dirty="0"/>
              <a:t>Vragen om losse </a:t>
            </a:r>
            <a:r>
              <a:rPr lang="nl-NL" sz="1600" dirty="0" err="1"/>
              <a:t>requirements</a:t>
            </a:r>
            <a:endParaRPr lang="nl-NL" sz="1600" dirty="0"/>
          </a:p>
          <a:p>
            <a:pPr marL="0" indent="0">
              <a:buNone/>
            </a:pPr>
            <a:endParaRPr lang="nl-NL" dirty="0"/>
          </a:p>
          <a:p>
            <a:endParaRPr lang="nl-NL" dirty="0"/>
          </a:p>
          <a:p>
            <a:endParaRPr lang="nl-NL" dirty="0"/>
          </a:p>
          <a:p>
            <a:endParaRPr lang="nl-NL" dirty="0"/>
          </a:p>
          <a:p>
            <a:endParaRPr lang="nl-NL" dirty="0"/>
          </a:p>
          <a:p>
            <a:pPr marL="0" indent="0">
              <a:buNone/>
            </a:pPr>
            <a:endParaRPr lang="nl-NL" dirty="0"/>
          </a:p>
        </p:txBody>
      </p:sp>
      <p:sp>
        <p:nvSpPr>
          <p:cNvPr id="3" name="Tijdelijke aanduiding voor voettekst 2"/>
          <p:cNvSpPr>
            <a:spLocks noGrp="1"/>
          </p:cNvSpPr>
          <p:nvPr>
            <p:ph type="ftr" sz="quarter" idx="16"/>
          </p:nvPr>
        </p:nvSpPr>
        <p:spPr/>
        <p:txBody>
          <a:bodyPr/>
          <a:lstStyle/>
          <a:p>
            <a:r>
              <a:rPr lang="nl-NL"/>
              <a:t>Behoefte functionele migratie SMZ</a:t>
            </a:r>
            <a:endParaRPr lang="en-GB" dirty="0"/>
          </a:p>
        </p:txBody>
      </p:sp>
      <p:sp>
        <p:nvSpPr>
          <p:cNvPr id="4" name="Tijdelijke aanduiding voor dianummer 3"/>
          <p:cNvSpPr>
            <a:spLocks noGrp="1"/>
          </p:cNvSpPr>
          <p:nvPr>
            <p:ph type="sldNum" sz="quarter" idx="17"/>
          </p:nvPr>
        </p:nvSpPr>
        <p:spPr/>
        <p:txBody>
          <a:bodyPr/>
          <a:lstStyle/>
          <a:p>
            <a:fld id="{EEC0F82C-4994-47DA-8D9B-99D78D224F6D}" type="slidenum">
              <a:rPr lang="en-GB" smtClean="0"/>
              <a:pPr/>
              <a:t>10</a:t>
            </a:fld>
            <a:endParaRPr lang="en-GB" dirty="0"/>
          </a:p>
        </p:txBody>
      </p:sp>
      <p:sp>
        <p:nvSpPr>
          <p:cNvPr id="5" name="Tijdelijke aanduiding voor inhoud 4"/>
          <p:cNvSpPr>
            <a:spLocks noGrp="1"/>
          </p:cNvSpPr>
          <p:nvPr>
            <p:ph sz="quarter" idx="14"/>
          </p:nvPr>
        </p:nvSpPr>
        <p:spPr/>
        <p:txBody>
          <a:bodyPr/>
          <a:lstStyle/>
          <a:p>
            <a:pPr marL="0" indent="0">
              <a:buNone/>
            </a:pPr>
            <a:r>
              <a:rPr lang="nl-NL" b="1" dirty="0"/>
              <a:t>WEL</a:t>
            </a:r>
          </a:p>
          <a:p>
            <a:r>
              <a:rPr lang="nl-NL" sz="1600" dirty="0"/>
              <a:t>Iteratief ontwikkelen</a:t>
            </a:r>
          </a:p>
          <a:p>
            <a:r>
              <a:rPr lang="nl-NL" sz="1600" dirty="0"/>
              <a:t>Oplossingsgericht werken</a:t>
            </a:r>
          </a:p>
          <a:p>
            <a:r>
              <a:rPr lang="nl-NL" sz="1600" dirty="0"/>
              <a:t>In twee weken aanpassingen in een dashboard kunnen realiseren</a:t>
            </a:r>
          </a:p>
          <a:p>
            <a:r>
              <a:rPr lang="nl-NL" sz="1600" dirty="0"/>
              <a:t>Handmatige bronnen kunnen toevoegen</a:t>
            </a:r>
          </a:p>
          <a:p>
            <a:r>
              <a:rPr lang="nl-NL" sz="1600" dirty="0"/>
              <a:t>Duidelijkheid over inrichting van centraal beheer van dimensies en definities</a:t>
            </a:r>
          </a:p>
          <a:p>
            <a:r>
              <a:rPr lang="nl-NL" sz="1600" dirty="0"/>
              <a:t>Een ingerichte </a:t>
            </a:r>
            <a:r>
              <a:rPr lang="nl-NL" sz="1600" dirty="0" err="1"/>
              <a:t>governance</a:t>
            </a:r>
            <a:r>
              <a:rPr lang="nl-NL" sz="1600" dirty="0"/>
              <a:t> bij wijziging in bronsystemen</a:t>
            </a:r>
          </a:p>
          <a:p>
            <a:r>
              <a:rPr lang="nl-NL" sz="1600" dirty="0"/>
              <a:t>Flexibiliteit bij nieuwe wensen</a:t>
            </a:r>
          </a:p>
          <a:p>
            <a:endParaRPr lang="nl-NL" dirty="0"/>
          </a:p>
          <a:p>
            <a:endParaRPr lang="nl-NL" dirty="0"/>
          </a:p>
        </p:txBody>
      </p:sp>
      <p:sp>
        <p:nvSpPr>
          <p:cNvPr id="8" name="Titel 4"/>
          <p:cNvSpPr txBox="1">
            <a:spLocks/>
          </p:cNvSpPr>
          <p:nvPr/>
        </p:nvSpPr>
        <p:spPr bwMode="gray">
          <a:xfrm>
            <a:off x="571500" y="542166"/>
            <a:ext cx="11049000" cy="981834"/>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400" b="1" kern="1200">
                <a:solidFill>
                  <a:schemeClr val="tx2"/>
                </a:solidFill>
                <a:latin typeface="+mj-lt"/>
                <a:ea typeface="+mj-ea"/>
                <a:cs typeface="+mj-cs"/>
              </a:defRPr>
            </a:lvl1pPr>
          </a:lstStyle>
          <a:p>
            <a:pPr lvl="0">
              <a:defRPr/>
            </a:pPr>
            <a:r>
              <a:rPr lang="nl-NL" noProof="0" dirty="0">
                <a:solidFill>
                  <a:srgbClr val="003282"/>
                </a:solidFill>
              </a:rPr>
              <a:t>In het uitvoeren van de werkzaamheden vragen we snelheid, klantbediening, </a:t>
            </a:r>
            <a:r>
              <a:rPr lang="nl-NL" noProof="0" dirty="0" err="1">
                <a:solidFill>
                  <a:srgbClr val="003282"/>
                </a:solidFill>
              </a:rPr>
              <a:t>flexibilitei</a:t>
            </a:r>
            <a:r>
              <a:rPr lang="nl-NL" dirty="0">
                <a:solidFill>
                  <a:srgbClr val="003282"/>
                </a:solidFill>
              </a:rPr>
              <a:t>t en duidelijkheid</a:t>
            </a:r>
            <a:endParaRPr kumimoji="0" lang="nl-NL" sz="2400" b="1" i="0" u="none" strike="noStrike" kern="1200" cap="none" spc="0" normalizeH="0" baseline="0" noProof="0" dirty="0">
              <a:ln>
                <a:noFill/>
              </a:ln>
              <a:solidFill>
                <a:srgbClr val="003282"/>
              </a:solidFill>
              <a:effectLst/>
              <a:uLnTx/>
              <a:uFillTx/>
              <a:latin typeface="Verdana"/>
              <a:ea typeface="+mj-ea"/>
              <a:cs typeface="+mj-cs"/>
            </a:endParaRPr>
          </a:p>
        </p:txBody>
      </p:sp>
      <p:sp>
        <p:nvSpPr>
          <p:cNvPr id="9" name="Rechthoek 8"/>
          <p:cNvSpPr/>
          <p:nvPr/>
        </p:nvSpPr>
        <p:spPr>
          <a:xfrm>
            <a:off x="571499" y="288447"/>
            <a:ext cx="7200000" cy="19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lvl="0">
              <a:defRPr/>
            </a:pPr>
            <a:r>
              <a:rPr kumimoji="0" lang="nl-NL" sz="1000" b="1" i="0" u="none" strike="noStrike" kern="1200" cap="all" spc="0" normalizeH="0" baseline="0" noProof="0" dirty="0">
                <a:ln>
                  <a:noFill/>
                </a:ln>
                <a:solidFill>
                  <a:srgbClr val="FFFFFF">
                    <a:lumMod val="85000"/>
                  </a:srgbClr>
                </a:solidFill>
                <a:effectLst/>
                <a:uLnTx/>
                <a:uFillTx/>
                <a:latin typeface="Verdana"/>
                <a:ea typeface="+mn-ea"/>
                <a:cs typeface="+mn-cs"/>
              </a:rPr>
              <a:t>Operationele </a:t>
            </a:r>
            <a:r>
              <a:rPr lang="nl-NL" sz="1000" b="1" cap="all" dirty="0">
                <a:solidFill>
                  <a:srgbClr val="FFFFFF">
                    <a:lumMod val="85000"/>
                  </a:srgbClr>
                </a:solidFill>
              </a:rPr>
              <a:t>behoefte (4/6)</a:t>
            </a:r>
            <a:endParaRPr kumimoji="0" lang="nl-NL" sz="1000" b="1" i="0" u="none" strike="noStrike" kern="1200" cap="all" spc="0" normalizeH="0" baseline="0" noProof="0" dirty="0">
              <a:ln>
                <a:noFill/>
              </a:ln>
              <a:solidFill>
                <a:srgbClr val="FFFFFF">
                  <a:lumMod val="85000"/>
                </a:srgbClr>
              </a:solidFill>
              <a:effectLst/>
              <a:uLnTx/>
              <a:uFillTx/>
              <a:latin typeface="Verdana"/>
              <a:ea typeface="+mn-ea"/>
              <a:cs typeface="+mn-cs"/>
            </a:endParaRPr>
          </a:p>
        </p:txBody>
      </p:sp>
    </p:spTree>
    <p:extLst>
      <p:ext uri="{BB962C8B-B14F-4D97-AF65-F5344CB8AC3E}">
        <p14:creationId xmlns:p14="http://schemas.microsoft.com/office/powerpoint/2010/main" val="18551893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sz="quarter" idx="15"/>
          </p:nvPr>
        </p:nvSpPr>
        <p:spPr/>
        <p:txBody>
          <a:bodyPr/>
          <a:lstStyle/>
          <a:p>
            <a:pPr marL="0" indent="0">
              <a:buNone/>
            </a:pPr>
            <a:r>
              <a:rPr lang="nl-NL" b="1" dirty="0"/>
              <a:t>NIET</a:t>
            </a:r>
          </a:p>
          <a:p>
            <a:endParaRPr lang="nl-NL" dirty="0"/>
          </a:p>
          <a:p>
            <a:endParaRPr lang="nl-NL" dirty="0"/>
          </a:p>
          <a:p>
            <a:endParaRPr lang="nl-NL" dirty="0"/>
          </a:p>
          <a:p>
            <a:endParaRPr lang="nl-NL" dirty="0"/>
          </a:p>
          <a:p>
            <a:pPr marL="0" indent="0">
              <a:buNone/>
            </a:pPr>
            <a:endParaRPr lang="nl-NL" dirty="0"/>
          </a:p>
        </p:txBody>
      </p:sp>
      <p:sp>
        <p:nvSpPr>
          <p:cNvPr id="3" name="Tijdelijke aanduiding voor voettekst 2"/>
          <p:cNvSpPr>
            <a:spLocks noGrp="1"/>
          </p:cNvSpPr>
          <p:nvPr>
            <p:ph type="ftr" sz="quarter" idx="16"/>
          </p:nvPr>
        </p:nvSpPr>
        <p:spPr/>
        <p:txBody>
          <a:bodyPr/>
          <a:lstStyle/>
          <a:p>
            <a:r>
              <a:rPr lang="nl-NL"/>
              <a:t>Behoefte functionele migratie SMZ</a:t>
            </a:r>
            <a:endParaRPr lang="en-GB" dirty="0"/>
          </a:p>
        </p:txBody>
      </p:sp>
      <p:sp>
        <p:nvSpPr>
          <p:cNvPr id="4" name="Tijdelijke aanduiding voor dianummer 3"/>
          <p:cNvSpPr>
            <a:spLocks noGrp="1"/>
          </p:cNvSpPr>
          <p:nvPr>
            <p:ph type="sldNum" sz="quarter" idx="17"/>
          </p:nvPr>
        </p:nvSpPr>
        <p:spPr/>
        <p:txBody>
          <a:bodyPr/>
          <a:lstStyle/>
          <a:p>
            <a:fld id="{EEC0F82C-4994-47DA-8D9B-99D78D224F6D}" type="slidenum">
              <a:rPr lang="en-GB" smtClean="0"/>
              <a:pPr/>
              <a:t>11</a:t>
            </a:fld>
            <a:endParaRPr lang="en-GB" dirty="0"/>
          </a:p>
        </p:txBody>
      </p:sp>
      <p:sp>
        <p:nvSpPr>
          <p:cNvPr id="5" name="Tijdelijke aanduiding voor inhoud 4"/>
          <p:cNvSpPr>
            <a:spLocks noGrp="1"/>
          </p:cNvSpPr>
          <p:nvPr>
            <p:ph sz="quarter" idx="14"/>
          </p:nvPr>
        </p:nvSpPr>
        <p:spPr/>
        <p:txBody>
          <a:bodyPr/>
          <a:lstStyle/>
          <a:p>
            <a:pPr marL="0" indent="0">
              <a:buNone/>
            </a:pPr>
            <a:r>
              <a:rPr lang="nl-NL" b="1" dirty="0"/>
              <a:t>WEL</a:t>
            </a:r>
          </a:p>
          <a:p>
            <a:r>
              <a:rPr lang="nl-NL" sz="1600" dirty="0"/>
              <a:t>Metingen zijn op zichzelf staand</a:t>
            </a:r>
          </a:p>
          <a:p>
            <a:pPr lvl="1"/>
            <a:r>
              <a:rPr lang="nl-NL" sz="1600" dirty="0"/>
              <a:t>Nieuwe meting vereist niet dat andere metingen opnieuw geladen moeten worden</a:t>
            </a:r>
          </a:p>
          <a:p>
            <a:r>
              <a:rPr lang="nl-NL" sz="1600" dirty="0"/>
              <a:t>Laadprocessen zijn onafhankelijk</a:t>
            </a:r>
          </a:p>
          <a:p>
            <a:r>
              <a:rPr lang="nl-NL" sz="1600" dirty="0"/>
              <a:t>De tijdsduur van laadprocessen is conform gebruikelijk gehanteerde standaarden</a:t>
            </a:r>
          </a:p>
          <a:p>
            <a:r>
              <a:rPr lang="nl-NL" sz="1600" dirty="0" err="1"/>
              <a:t>Queries</a:t>
            </a:r>
            <a:r>
              <a:rPr lang="nl-NL" sz="1600" dirty="0"/>
              <a:t> op gegevensvenster duren maximaal 1 minuut</a:t>
            </a:r>
          </a:p>
        </p:txBody>
      </p:sp>
      <p:sp>
        <p:nvSpPr>
          <p:cNvPr id="8" name="Titel 4"/>
          <p:cNvSpPr txBox="1">
            <a:spLocks/>
          </p:cNvSpPr>
          <p:nvPr/>
        </p:nvSpPr>
        <p:spPr bwMode="gray">
          <a:xfrm>
            <a:off x="571500" y="542166"/>
            <a:ext cx="11049000" cy="981834"/>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400" b="1" kern="1200">
                <a:solidFill>
                  <a:schemeClr val="tx2"/>
                </a:solidFill>
                <a:latin typeface="+mj-lt"/>
                <a:ea typeface="+mj-ea"/>
                <a:cs typeface="+mj-cs"/>
              </a:defRPr>
            </a:lvl1pPr>
          </a:lstStyle>
          <a:p>
            <a:pPr lvl="0">
              <a:defRPr/>
            </a:pPr>
            <a:r>
              <a:rPr lang="nl-NL" noProof="0" dirty="0">
                <a:solidFill>
                  <a:srgbClr val="003282"/>
                </a:solidFill>
              </a:rPr>
              <a:t>Ook wanneer ontwikkeling overgaat </a:t>
            </a:r>
            <a:r>
              <a:rPr lang="nl-NL" noProof="0" dirty="0" err="1">
                <a:solidFill>
                  <a:srgbClr val="003282"/>
                </a:solidFill>
              </a:rPr>
              <a:t>naa</a:t>
            </a:r>
            <a:r>
              <a:rPr lang="nl-NL" dirty="0">
                <a:solidFill>
                  <a:srgbClr val="003282"/>
                </a:solidFill>
              </a:rPr>
              <a:t>r beheer (= doorontwikkeling)</a:t>
            </a:r>
            <a:endParaRPr kumimoji="0" lang="nl-NL" sz="2400" b="1" i="0" u="none" strike="noStrike" kern="1200" cap="none" spc="0" normalizeH="0" baseline="0" noProof="0" dirty="0">
              <a:ln>
                <a:noFill/>
              </a:ln>
              <a:solidFill>
                <a:srgbClr val="003282"/>
              </a:solidFill>
              <a:effectLst/>
              <a:uLnTx/>
              <a:uFillTx/>
              <a:latin typeface="Verdana"/>
              <a:ea typeface="+mj-ea"/>
              <a:cs typeface="+mj-cs"/>
            </a:endParaRPr>
          </a:p>
        </p:txBody>
      </p:sp>
      <p:sp>
        <p:nvSpPr>
          <p:cNvPr id="9" name="Rechthoek 8"/>
          <p:cNvSpPr/>
          <p:nvPr/>
        </p:nvSpPr>
        <p:spPr>
          <a:xfrm>
            <a:off x="571499" y="288447"/>
            <a:ext cx="7200000" cy="19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lvl="0">
              <a:defRPr/>
            </a:pPr>
            <a:r>
              <a:rPr kumimoji="0" lang="nl-NL" sz="1000" b="1" i="0" u="none" strike="noStrike" kern="1200" cap="all" spc="0" normalizeH="0" baseline="0" noProof="0" dirty="0">
                <a:ln>
                  <a:noFill/>
                </a:ln>
                <a:solidFill>
                  <a:srgbClr val="FFFFFF">
                    <a:lumMod val="85000"/>
                  </a:srgbClr>
                </a:solidFill>
                <a:effectLst/>
                <a:uLnTx/>
                <a:uFillTx/>
                <a:latin typeface="Verdana"/>
                <a:ea typeface="+mn-ea"/>
                <a:cs typeface="+mn-cs"/>
              </a:rPr>
              <a:t>Operationele </a:t>
            </a:r>
            <a:r>
              <a:rPr lang="nl-NL" sz="1000" b="1" cap="all" dirty="0">
                <a:solidFill>
                  <a:srgbClr val="FFFFFF">
                    <a:lumMod val="85000"/>
                  </a:srgbClr>
                </a:solidFill>
              </a:rPr>
              <a:t>behoefte (5/6)</a:t>
            </a:r>
            <a:endParaRPr kumimoji="0" lang="nl-NL" sz="1000" b="1" i="0" u="none" strike="noStrike" kern="1200" cap="all" spc="0" normalizeH="0" baseline="0" noProof="0" dirty="0">
              <a:ln>
                <a:noFill/>
              </a:ln>
              <a:solidFill>
                <a:srgbClr val="FFFFFF">
                  <a:lumMod val="85000"/>
                </a:srgbClr>
              </a:solidFill>
              <a:effectLst/>
              <a:uLnTx/>
              <a:uFillTx/>
              <a:latin typeface="Verdana"/>
              <a:ea typeface="+mn-ea"/>
              <a:cs typeface="+mn-cs"/>
            </a:endParaRPr>
          </a:p>
        </p:txBody>
      </p:sp>
    </p:spTree>
    <p:extLst>
      <p:ext uri="{BB962C8B-B14F-4D97-AF65-F5344CB8AC3E}">
        <p14:creationId xmlns:p14="http://schemas.microsoft.com/office/powerpoint/2010/main" val="4001584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sz="quarter" idx="15"/>
          </p:nvPr>
        </p:nvSpPr>
        <p:spPr/>
        <p:txBody>
          <a:bodyPr/>
          <a:lstStyle/>
          <a:p>
            <a:pPr marL="0" indent="0">
              <a:buNone/>
            </a:pPr>
            <a:r>
              <a:rPr lang="nl-NL" b="1" dirty="0"/>
              <a:t>NIET</a:t>
            </a:r>
          </a:p>
          <a:p>
            <a:r>
              <a:rPr lang="nl-NL" sz="1600" dirty="0"/>
              <a:t>U vraagt, wij draaien</a:t>
            </a:r>
          </a:p>
          <a:p>
            <a:endParaRPr lang="nl-NL" dirty="0"/>
          </a:p>
          <a:p>
            <a:endParaRPr lang="nl-NL" dirty="0"/>
          </a:p>
          <a:p>
            <a:endParaRPr lang="nl-NL" dirty="0"/>
          </a:p>
          <a:p>
            <a:pPr marL="0" indent="0">
              <a:buNone/>
            </a:pPr>
            <a:endParaRPr lang="nl-NL" dirty="0"/>
          </a:p>
        </p:txBody>
      </p:sp>
      <p:sp>
        <p:nvSpPr>
          <p:cNvPr id="3" name="Tijdelijke aanduiding voor voettekst 2"/>
          <p:cNvSpPr>
            <a:spLocks noGrp="1"/>
          </p:cNvSpPr>
          <p:nvPr>
            <p:ph type="ftr" sz="quarter" idx="16"/>
          </p:nvPr>
        </p:nvSpPr>
        <p:spPr/>
        <p:txBody>
          <a:bodyPr/>
          <a:lstStyle/>
          <a:p>
            <a:r>
              <a:rPr lang="nl-NL"/>
              <a:t>Behoefte functionele migratie SMZ</a:t>
            </a:r>
            <a:endParaRPr lang="en-GB" dirty="0"/>
          </a:p>
        </p:txBody>
      </p:sp>
      <p:sp>
        <p:nvSpPr>
          <p:cNvPr id="4" name="Tijdelijke aanduiding voor dianummer 3"/>
          <p:cNvSpPr>
            <a:spLocks noGrp="1"/>
          </p:cNvSpPr>
          <p:nvPr>
            <p:ph type="sldNum" sz="quarter" idx="17"/>
          </p:nvPr>
        </p:nvSpPr>
        <p:spPr/>
        <p:txBody>
          <a:bodyPr/>
          <a:lstStyle/>
          <a:p>
            <a:fld id="{EEC0F82C-4994-47DA-8D9B-99D78D224F6D}" type="slidenum">
              <a:rPr lang="en-GB" smtClean="0"/>
              <a:pPr/>
              <a:t>12</a:t>
            </a:fld>
            <a:endParaRPr lang="en-GB" dirty="0"/>
          </a:p>
        </p:txBody>
      </p:sp>
      <p:sp>
        <p:nvSpPr>
          <p:cNvPr id="5" name="Tijdelijke aanduiding voor inhoud 4"/>
          <p:cNvSpPr>
            <a:spLocks noGrp="1"/>
          </p:cNvSpPr>
          <p:nvPr>
            <p:ph sz="quarter" idx="14"/>
          </p:nvPr>
        </p:nvSpPr>
        <p:spPr/>
        <p:txBody>
          <a:bodyPr/>
          <a:lstStyle/>
          <a:p>
            <a:pPr marL="0" indent="0">
              <a:buNone/>
            </a:pPr>
            <a:r>
              <a:rPr lang="nl-NL" b="1" dirty="0"/>
              <a:t>WEL</a:t>
            </a:r>
          </a:p>
          <a:p>
            <a:r>
              <a:rPr lang="nl-NL" sz="1600" dirty="0"/>
              <a:t>Zowel DWH als SMZ kan gegevensvensters bouwen</a:t>
            </a:r>
          </a:p>
        </p:txBody>
      </p:sp>
      <p:sp>
        <p:nvSpPr>
          <p:cNvPr id="8" name="Titel 4"/>
          <p:cNvSpPr txBox="1">
            <a:spLocks/>
          </p:cNvSpPr>
          <p:nvPr/>
        </p:nvSpPr>
        <p:spPr bwMode="gray">
          <a:xfrm>
            <a:off x="571500" y="542166"/>
            <a:ext cx="11049000" cy="981834"/>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400" b="1" kern="1200">
                <a:solidFill>
                  <a:schemeClr val="tx2"/>
                </a:solidFill>
                <a:latin typeface="+mj-lt"/>
                <a:ea typeface="+mj-ea"/>
                <a:cs typeface="+mj-cs"/>
              </a:defRPr>
            </a:lvl1pPr>
          </a:lstStyle>
          <a:p>
            <a:pPr lvl="0">
              <a:defRPr/>
            </a:pPr>
            <a:r>
              <a:rPr lang="nl-NL" noProof="0" dirty="0">
                <a:solidFill>
                  <a:srgbClr val="003282"/>
                </a:solidFill>
              </a:rPr>
              <a:t>SMZ wil zelf graag regie over de aspecten die meer business-gerelateerd zijn</a:t>
            </a:r>
            <a:endParaRPr kumimoji="0" lang="nl-NL" sz="2400" b="1" i="0" u="none" strike="noStrike" kern="1200" cap="none" spc="0" normalizeH="0" baseline="0" noProof="0" dirty="0">
              <a:ln>
                <a:noFill/>
              </a:ln>
              <a:solidFill>
                <a:srgbClr val="003282"/>
              </a:solidFill>
              <a:effectLst/>
              <a:uLnTx/>
              <a:uFillTx/>
              <a:latin typeface="Verdana"/>
              <a:ea typeface="+mj-ea"/>
              <a:cs typeface="+mj-cs"/>
            </a:endParaRPr>
          </a:p>
        </p:txBody>
      </p:sp>
      <p:sp>
        <p:nvSpPr>
          <p:cNvPr id="9" name="Rechthoek 8"/>
          <p:cNvSpPr/>
          <p:nvPr/>
        </p:nvSpPr>
        <p:spPr>
          <a:xfrm>
            <a:off x="571499" y="288447"/>
            <a:ext cx="7200000" cy="19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lvl="0">
              <a:defRPr/>
            </a:pPr>
            <a:r>
              <a:rPr kumimoji="0" lang="nl-NL" sz="1000" b="1" i="0" u="none" strike="noStrike" kern="1200" cap="all" spc="0" normalizeH="0" baseline="0" noProof="0" dirty="0">
                <a:ln>
                  <a:noFill/>
                </a:ln>
                <a:solidFill>
                  <a:srgbClr val="FFFFFF">
                    <a:lumMod val="85000"/>
                  </a:srgbClr>
                </a:solidFill>
                <a:effectLst/>
                <a:uLnTx/>
                <a:uFillTx/>
                <a:latin typeface="Verdana"/>
                <a:ea typeface="+mn-ea"/>
                <a:cs typeface="+mn-cs"/>
              </a:rPr>
              <a:t>Operationele </a:t>
            </a:r>
            <a:r>
              <a:rPr lang="nl-NL" sz="1000" b="1" cap="all" dirty="0">
                <a:solidFill>
                  <a:srgbClr val="FFFFFF">
                    <a:lumMod val="85000"/>
                  </a:srgbClr>
                </a:solidFill>
              </a:rPr>
              <a:t>behoefte (6/6)</a:t>
            </a:r>
            <a:endParaRPr kumimoji="0" lang="nl-NL" sz="1000" b="1" i="0" u="none" strike="noStrike" kern="1200" cap="all" spc="0" normalizeH="0" baseline="0" noProof="0" dirty="0">
              <a:ln>
                <a:noFill/>
              </a:ln>
              <a:solidFill>
                <a:srgbClr val="FFFFFF">
                  <a:lumMod val="85000"/>
                </a:srgbClr>
              </a:solidFill>
              <a:effectLst/>
              <a:uLnTx/>
              <a:uFillTx/>
              <a:latin typeface="Verdana"/>
              <a:ea typeface="+mn-ea"/>
              <a:cs typeface="+mn-cs"/>
            </a:endParaRPr>
          </a:p>
        </p:txBody>
      </p:sp>
    </p:spTree>
    <p:extLst>
      <p:ext uri="{BB962C8B-B14F-4D97-AF65-F5344CB8AC3E}">
        <p14:creationId xmlns:p14="http://schemas.microsoft.com/office/powerpoint/2010/main" val="12116507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sz="quarter" idx="14"/>
          </p:nvPr>
        </p:nvSpPr>
        <p:spPr/>
        <p:txBody>
          <a:bodyPr/>
          <a:lstStyle/>
          <a:p>
            <a:r>
              <a:rPr lang="nl-NL" dirty="0"/>
              <a:t>Een geïntegreerd model, in eerste instantie voor de ZW-Arbo. Met het integrale model wordt businesswaarde geleverd in de vorm van relevantie, snelheid, éénduidigheid, flexibiliteit, herleidbaarheid, performance en integraliteit binnen de kaders van de AVG.</a:t>
            </a:r>
          </a:p>
          <a:p>
            <a:pPr>
              <a:spcBef>
                <a:spcPts val="1200"/>
              </a:spcBef>
            </a:pPr>
            <a:r>
              <a:rPr lang="nl-NL" dirty="0"/>
              <a:t>Daarnaast willen we dat de mogelijkheid wordt gecreëerd direct vanuit het DIM te rapporteren door gegevens uit verschillende systemen binnen het DIM met elkaar te combineren en op die manier inzicht geven in de prestaties van SMZ.</a:t>
            </a:r>
          </a:p>
          <a:p>
            <a:pPr>
              <a:spcBef>
                <a:spcPts val="1200"/>
              </a:spcBef>
            </a:pPr>
            <a:r>
              <a:rPr lang="nl-NL" dirty="0"/>
              <a:t>Ook willen we een instrumentarium om kwaliteitsonderzoeken/audits te kunnen verrichten. Dit betreft het automatisch kunnen doen van steekproeven voor audits en een omgeving om kwaliteitsonderzoeken te kunnen uitvoeren. Ook moet de omgeving het verrichten van analyses ondersteunen.</a:t>
            </a:r>
          </a:p>
        </p:txBody>
      </p:sp>
      <p:sp>
        <p:nvSpPr>
          <p:cNvPr id="3" name="Tijdelijke aanduiding voor voettekst 2"/>
          <p:cNvSpPr>
            <a:spLocks noGrp="1"/>
          </p:cNvSpPr>
          <p:nvPr>
            <p:ph type="ftr" sz="quarter" idx="15"/>
          </p:nvPr>
        </p:nvSpPr>
        <p:spPr/>
        <p:txBody>
          <a:bodyPr/>
          <a:lstStyle/>
          <a:p>
            <a:r>
              <a:rPr lang="nl-NL"/>
              <a:t>Behoefte functionele migratie SMZ</a:t>
            </a:r>
            <a:endParaRPr lang="en-GB" dirty="0"/>
          </a:p>
        </p:txBody>
      </p:sp>
      <p:sp>
        <p:nvSpPr>
          <p:cNvPr id="4" name="Tijdelijke aanduiding voor dianummer 3"/>
          <p:cNvSpPr>
            <a:spLocks noGrp="1"/>
          </p:cNvSpPr>
          <p:nvPr>
            <p:ph type="sldNum" sz="quarter" idx="16"/>
          </p:nvPr>
        </p:nvSpPr>
        <p:spPr/>
        <p:txBody>
          <a:bodyPr/>
          <a:lstStyle/>
          <a:p>
            <a:fld id="{EEC0F82C-4994-47DA-8D9B-99D78D224F6D}" type="slidenum">
              <a:rPr lang="en-GB" smtClean="0"/>
              <a:pPr/>
              <a:t>13</a:t>
            </a:fld>
            <a:endParaRPr lang="en-GB" dirty="0"/>
          </a:p>
        </p:txBody>
      </p:sp>
      <p:sp>
        <p:nvSpPr>
          <p:cNvPr id="7" name="Titel 4"/>
          <p:cNvSpPr txBox="1">
            <a:spLocks/>
          </p:cNvSpPr>
          <p:nvPr/>
        </p:nvSpPr>
        <p:spPr bwMode="gray">
          <a:xfrm>
            <a:off x="571500" y="542166"/>
            <a:ext cx="11049000" cy="981834"/>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400" b="1" kern="1200">
                <a:solidFill>
                  <a:schemeClr val="tx2"/>
                </a:solidFill>
                <a:latin typeface="+mj-lt"/>
                <a:ea typeface="+mj-ea"/>
                <a:cs typeface="+mj-cs"/>
              </a:defRPr>
            </a:lvl1pPr>
          </a:lstStyle>
          <a:p>
            <a:pPr lvl="0">
              <a:defRPr/>
            </a:pPr>
            <a:r>
              <a:rPr lang="nl-NL" dirty="0">
                <a:solidFill>
                  <a:srgbClr val="003282"/>
                </a:solidFill>
              </a:rPr>
              <a:t>Samenvattend wil SMZ het volgende:</a:t>
            </a:r>
            <a:endParaRPr kumimoji="0" lang="nl-NL" sz="2400" b="1" i="0" u="none" strike="noStrike" kern="1200" cap="none" spc="0" normalizeH="0" baseline="0" noProof="0" dirty="0">
              <a:ln>
                <a:noFill/>
              </a:ln>
              <a:solidFill>
                <a:srgbClr val="003282"/>
              </a:solidFill>
              <a:effectLst/>
              <a:uLnTx/>
              <a:uFillTx/>
              <a:latin typeface="Verdana"/>
              <a:ea typeface="+mj-ea"/>
              <a:cs typeface="+mj-cs"/>
            </a:endParaRPr>
          </a:p>
        </p:txBody>
      </p:sp>
    </p:spTree>
    <p:extLst>
      <p:ext uri="{BB962C8B-B14F-4D97-AF65-F5344CB8AC3E}">
        <p14:creationId xmlns:p14="http://schemas.microsoft.com/office/powerpoint/2010/main" val="2915098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5">
            <a:extLst>
              <a:ext uri="{FF2B5EF4-FFF2-40B4-BE49-F238E27FC236}">
                <a16:creationId xmlns:a16="http://schemas.microsoft.com/office/drawing/2014/main" id="{F4837496-4E47-4B30-B688-25A225057118}"/>
              </a:ext>
            </a:extLst>
          </p:cNvPr>
          <p:cNvGrpSpPr/>
          <p:nvPr/>
        </p:nvGrpSpPr>
        <p:grpSpPr>
          <a:xfrm>
            <a:off x="571500" y="1736439"/>
            <a:ext cx="4120573" cy="4193598"/>
            <a:chOff x="674123" y="2402042"/>
            <a:chExt cx="3289752" cy="3276600"/>
          </a:xfrm>
        </p:grpSpPr>
        <p:pic>
          <p:nvPicPr>
            <p:cNvPr id="19" name="Picture 59">
              <a:extLst>
                <a:ext uri="{FF2B5EF4-FFF2-40B4-BE49-F238E27FC236}">
                  <a16:creationId xmlns:a16="http://schemas.microsoft.com/office/drawing/2014/main" id="{69E12A4C-F27E-4EF6-AC4F-7339C489396E}"/>
                </a:ext>
              </a:extLst>
            </p:cNvPr>
            <p:cNvPicPr>
              <a:picLocks noChangeAspect="1" noChangeArrowheads="1"/>
            </p:cNvPicPr>
            <p:nvPr/>
          </p:nvPicPr>
          <p:blipFill>
            <a:blip r:embed="rId2"/>
            <a:srcRect/>
            <a:stretch>
              <a:fillRect/>
            </a:stretch>
          </p:blipFill>
          <p:spPr bwMode="auto">
            <a:xfrm>
              <a:off x="674123" y="2402042"/>
              <a:ext cx="3124200" cy="3276600"/>
            </a:xfrm>
            <a:prstGeom prst="rect">
              <a:avLst/>
            </a:prstGeom>
            <a:noFill/>
            <a:ln w="9525">
              <a:noFill/>
              <a:miter lim="800000"/>
              <a:headEnd/>
              <a:tailEnd/>
            </a:ln>
            <a:effectLst/>
          </p:spPr>
        </p:pic>
        <p:sp>
          <p:nvSpPr>
            <p:cNvPr id="20" name="AutoShape 46">
              <a:extLst>
                <a:ext uri="{FF2B5EF4-FFF2-40B4-BE49-F238E27FC236}">
                  <a16:creationId xmlns:a16="http://schemas.microsoft.com/office/drawing/2014/main" id="{0C5AD180-BC97-42EA-9543-9989AA744ADD}"/>
                </a:ext>
              </a:extLst>
            </p:cNvPr>
            <p:cNvSpPr>
              <a:spLocks noChangeArrowheads="1"/>
            </p:cNvSpPr>
            <p:nvPr/>
          </p:nvSpPr>
          <p:spPr bwMode="auto">
            <a:xfrm>
              <a:off x="674125" y="2403635"/>
              <a:ext cx="3289750" cy="3240087"/>
            </a:xfrm>
            <a:prstGeom prst="triangle">
              <a:avLst>
                <a:gd name="adj" fmla="val 50000"/>
              </a:avLst>
            </a:prstGeom>
            <a:solidFill>
              <a:schemeClr val="accent3">
                <a:lumMod val="20000"/>
                <a:lumOff val="80000"/>
                <a:alpha val="39999"/>
              </a:schemeClr>
            </a:solidFill>
            <a:ln w="9525">
              <a:noFill/>
              <a:miter lim="800000"/>
              <a:headEnd/>
              <a:tailEnd/>
            </a:ln>
            <a:effectLst/>
          </p:spPr>
          <p:txBody>
            <a:bodyPr wrap="none" lIns="91382" tIns="45690" rIns="91382" bIns="4569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Verdana"/>
                <a:ea typeface="+mn-ea"/>
                <a:cs typeface="+mn-cs"/>
              </a:endParaRPr>
            </a:p>
          </p:txBody>
        </p:sp>
      </p:grpSp>
      <p:sp>
        <p:nvSpPr>
          <p:cNvPr id="11" name="Rectangle 6">
            <a:extLst>
              <a:ext uri="{FF2B5EF4-FFF2-40B4-BE49-F238E27FC236}">
                <a16:creationId xmlns:a16="http://schemas.microsoft.com/office/drawing/2014/main" id="{000C9FB5-D8FA-4485-8C44-6AE75532A741}"/>
              </a:ext>
            </a:extLst>
          </p:cNvPr>
          <p:cNvSpPr/>
          <p:nvPr/>
        </p:nvSpPr>
        <p:spPr>
          <a:xfrm>
            <a:off x="1713562" y="2005761"/>
            <a:ext cx="1803179" cy="623936"/>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000000"/>
                </a:solidFill>
                <a:effectLst/>
                <a:uLnTx/>
                <a:uFillTx/>
                <a:latin typeface="Verdana"/>
                <a:ea typeface="+mn-ea"/>
                <a:cs typeface="+mn-cs"/>
              </a:rPr>
              <a:t>Strategisch</a:t>
            </a:r>
          </a:p>
        </p:txBody>
      </p:sp>
      <p:sp>
        <p:nvSpPr>
          <p:cNvPr id="12" name="Rectangle 7">
            <a:extLst>
              <a:ext uri="{FF2B5EF4-FFF2-40B4-BE49-F238E27FC236}">
                <a16:creationId xmlns:a16="http://schemas.microsoft.com/office/drawing/2014/main" id="{EE01308A-C30D-483A-999B-44F478FAB32B}"/>
              </a:ext>
            </a:extLst>
          </p:cNvPr>
          <p:cNvSpPr/>
          <p:nvPr/>
        </p:nvSpPr>
        <p:spPr>
          <a:xfrm>
            <a:off x="1713562" y="3326232"/>
            <a:ext cx="1803179" cy="623936"/>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000000"/>
                </a:solidFill>
                <a:effectLst/>
                <a:uLnTx/>
                <a:uFillTx/>
                <a:latin typeface="Verdana"/>
                <a:ea typeface="+mn-ea"/>
                <a:cs typeface="+mn-cs"/>
              </a:rPr>
              <a:t>Tactisch</a:t>
            </a:r>
          </a:p>
        </p:txBody>
      </p:sp>
      <p:sp>
        <p:nvSpPr>
          <p:cNvPr id="13" name="Rectangle 8">
            <a:extLst>
              <a:ext uri="{FF2B5EF4-FFF2-40B4-BE49-F238E27FC236}">
                <a16:creationId xmlns:a16="http://schemas.microsoft.com/office/drawing/2014/main" id="{7BE98F04-5CB2-4F6F-8241-0BD8F03E6381}"/>
              </a:ext>
            </a:extLst>
          </p:cNvPr>
          <p:cNvSpPr/>
          <p:nvPr/>
        </p:nvSpPr>
        <p:spPr>
          <a:xfrm>
            <a:off x="1713562" y="4713211"/>
            <a:ext cx="1803179" cy="623936"/>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000000"/>
                </a:solidFill>
                <a:effectLst/>
                <a:uLnTx/>
                <a:uFillTx/>
                <a:latin typeface="Verdana"/>
                <a:ea typeface="+mn-ea"/>
                <a:cs typeface="+mn-cs"/>
              </a:rPr>
              <a:t>Operationeel</a:t>
            </a:r>
          </a:p>
        </p:txBody>
      </p:sp>
      <p:cxnSp>
        <p:nvCxnSpPr>
          <p:cNvPr id="22" name="Rechte verbindingslijn 21"/>
          <p:cNvCxnSpPr/>
          <p:nvPr/>
        </p:nvCxnSpPr>
        <p:spPr>
          <a:xfrm>
            <a:off x="5428500" y="3048002"/>
            <a:ext cx="6192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Rechte verbindingslijn 22"/>
          <p:cNvCxnSpPr/>
          <p:nvPr/>
        </p:nvCxnSpPr>
        <p:spPr>
          <a:xfrm>
            <a:off x="5428500" y="4511964"/>
            <a:ext cx="6192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4" name="Rechthoek 23"/>
          <p:cNvSpPr/>
          <p:nvPr/>
        </p:nvSpPr>
        <p:spPr>
          <a:xfrm>
            <a:off x="5428500" y="1983636"/>
            <a:ext cx="6192000" cy="830997"/>
          </a:xfrm>
          <a:prstGeom prst="rect">
            <a:avLst/>
          </a:prstGeom>
        </p:spPr>
        <p:txBody>
          <a:bodyPr wrap="square">
            <a:spAutoFit/>
          </a:bodyPr>
          <a:lstStyle/>
          <a:p>
            <a:r>
              <a:rPr lang="nl-NL" sz="1600" dirty="0"/>
              <a:t>Gezamenlijk met GD en andere divisies neerzetten van een visie op een datawarehouse omgeving (DIM) op zowel inhoud, proces als organisatie</a:t>
            </a:r>
          </a:p>
        </p:txBody>
      </p:sp>
      <p:sp>
        <p:nvSpPr>
          <p:cNvPr id="25" name="Rechthoek 24"/>
          <p:cNvSpPr/>
          <p:nvPr/>
        </p:nvSpPr>
        <p:spPr>
          <a:xfrm>
            <a:off x="5428500" y="3056038"/>
            <a:ext cx="6192000" cy="338554"/>
          </a:xfrm>
          <a:prstGeom prst="rect">
            <a:avLst/>
          </a:prstGeom>
        </p:spPr>
        <p:txBody>
          <a:bodyPr wrap="square">
            <a:spAutoFit/>
          </a:bodyPr>
          <a:lstStyle/>
          <a:p>
            <a:r>
              <a:rPr lang="nl-NL" sz="1600" dirty="0"/>
              <a:t>Behoefte op het vlak van verschillende aspecten:</a:t>
            </a:r>
          </a:p>
        </p:txBody>
      </p:sp>
      <p:sp>
        <p:nvSpPr>
          <p:cNvPr id="26" name="Rechthoek 25"/>
          <p:cNvSpPr/>
          <p:nvPr/>
        </p:nvSpPr>
        <p:spPr>
          <a:xfrm>
            <a:off x="5770246" y="3373583"/>
            <a:ext cx="3022773" cy="1077218"/>
          </a:xfrm>
          <a:prstGeom prst="rect">
            <a:avLst/>
          </a:prstGeom>
        </p:spPr>
        <p:txBody>
          <a:bodyPr wrap="square">
            <a:spAutoFit/>
          </a:bodyPr>
          <a:lstStyle/>
          <a:p>
            <a:pPr marL="360363" indent="-360363">
              <a:buFont typeface="Arial" panose="020B0604020202020204" pitchFamily="34" charset="0"/>
              <a:buChar char="•"/>
            </a:pPr>
            <a:r>
              <a:rPr lang="nl-NL" sz="1600" dirty="0"/>
              <a:t>Flexibiliteit</a:t>
            </a:r>
          </a:p>
          <a:p>
            <a:pPr marL="360363" indent="-360363">
              <a:buFont typeface="Arial" panose="020B0604020202020204" pitchFamily="34" charset="0"/>
              <a:buChar char="•"/>
            </a:pPr>
            <a:r>
              <a:rPr lang="nl-NL" sz="1600" dirty="0"/>
              <a:t>Snelheid</a:t>
            </a:r>
          </a:p>
          <a:p>
            <a:pPr marL="360363" indent="-360363">
              <a:buFont typeface="Arial" panose="020B0604020202020204" pitchFamily="34" charset="0"/>
              <a:buChar char="•"/>
            </a:pPr>
            <a:r>
              <a:rPr lang="nl-NL" sz="1600" dirty="0"/>
              <a:t>Integraliteit</a:t>
            </a:r>
          </a:p>
          <a:p>
            <a:pPr marL="360363" indent="-360363">
              <a:buFont typeface="Arial" panose="020B0604020202020204" pitchFamily="34" charset="0"/>
              <a:buChar char="•"/>
            </a:pPr>
            <a:r>
              <a:rPr lang="nl-NL" sz="1600" dirty="0"/>
              <a:t>Eenduidigheid</a:t>
            </a:r>
          </a:p>
        </p:txBody>
      </p:sp>
      <p:sp>
        <p:nvSpPr>
          <p:cNvPr id="27" name="Rechthoek 26"/>
          <p:cNvSpPr/>
          <p:nvPr/>
        </p:nvSpPr>
        <p:spPr>
          <a:xfrm>
            <a:off x="8287155" y="3373583"/>
            <a:ext cx="3022773" cy="830997"/>
          </a:xfrm>
          <a:prstGeom prst="rect">
            <a:avLst/>
          </a:prstGeom>
        </p:spPr>
        <p:txBody>
          <a:bodyPr wrap="square">
            <a:spAutoFit/>
          </a:bodyPr>
          <a:lstStyle/>
          <a:p>
            <a:pPr marL="360363" indent="-360363">
              <a:buFont typeface="Arial" panose="020B0604020202020204" pitchFamily="34" charset="0"/>
              <a:buChar char="•"/>
            </a:pPr>
            <a:r>
              <a:rPr lang="nl-NL" sz="1600" dirty="0"/>
              <a:t>AVG</a:t>
            </a:r>
          </a:p>
          <a:p>
            <a:pPr marL="360363" indent="-360363">
              <a:buFont typeface="Arial" panose="020B0604020202020204" pitchFamily="34" charset="0"/>
              <a:buChar char="•"/>
            </a:pPr>
            <a:r>
              <a:rPr lang="nl-NL" sz="1600" dirty="0"/>
              <a:t>Herleidbaarheid</a:t>
            </a:r>
          </a:p>
          <a:p>
            <a:pPr marL="360363" indent="-360363">
              <a:buFont typeface="Arial" panose="020B0604020202020204" pitchFamily="34" charset="0"/>
              <a:buChar char="•"/>
            </a:pPr>
            <a:r>
              <a:rPr lang="nl-NL" sz="1600" dirty="0"/>
              <a:t>Performance</a:t>
            </a:r>
          </a:p>
        </p:txBody>
      </p:sp>
      <p:sp>
        <p:nvSpPr>
          <p:cNvPr id="28" name="Rechthoek 27"/>
          <p:cNvSpPr/>
          <p:nvPr/>
        </p:nvSpPr>
        <p:spPr>
          <a:xfrm>
            <a:off x="5428500" y="4723965"/>
            <a:ext cx="6192000" cy="830997"/>
          </a:xfrm>
          <a:prstGeom prst="rect">
            <a:avLst/>
          </a:prstGeom>
        </p:spPr>
        <p:txBody>
          <a:bodyPr wrap="square">
            <a:spAutoFit/>
          </a:bodyPr>
          <a:lstStyle/>
          <a:p>
            <a:r>
              <a:rPr lang="nl-NL" sz="1600" dirty="0"/>
              <a:t>Behoefte om </a:t>
            </a:r>
            <a:r>
              <a:rPr lang="nl-NL" sz="1600" dirty="0" err="1"/>
              <a:t>datagedreven</a:t>
            </a:r>
            <a:r>
              <a:rPr lang="nl-NL" sz="1600" dirty="0"/>
              <a:t> te kunnen werken en om dashboards met stuur- en verantwoordingsinformatie aan te sluiten op de datawarehouse omgeving (=DIM)</a:t>
            </a:r>
          </a:p>
        </p:txBody>
      </p:sp>
      <p:sp>
        <p:nvSpPr>
          <p:cNvPr id="30" name="Titel 4"/>
          <p:cNvSpPr txBox="1">
            <a:spLocks/>
          </p:cNvSpPr>
          <p:nvPr/>
        </p:nvSpPr>
        <p:spPr bwMode="gray">
          <a:xfrm>
            <a:off x="571500" y="542166"/>
            <a:ext cx="11049000" cy="981834"/>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400" b="1" kern="1200">
                <a:solidFill>
                  <a:schemeClr val="tx2"/>
                </a:solidFill>
                <a:latin typeface="+mj-lt"/>
                <a:ea typeface="+mj-ea"/>
                <a:cs typeface="+mj-cs"/>
              </a:defRPr>
            </a:lvl1pPr>
          </a:lstStyle>
          <a:p>
            <a:pPr lvl="0">
              <a:defRPr/>
            </a:pPr>
            <a:r>
              <a:rPr lang="nl-NL" dirty="0">
                <a:solidFill>
                  <a:srgbClr val="003282"/>
                </a:solidFill>
              </a:rPr>
              <a:t>SMZ wenst een datawarehouse dat op strategisch, tactisch en operationeel in haar behoefte voorziet, DIM is momentum</a:t>
            </a:r>
            <a:endParaRPr kumimoji="0" lang="nl-NL" sz="2400" b="1" i="0" u="none" strike="noStrike" kern="1200" cap="none" spc="0" normalizeH="0" baseline="0" noProof="0" dirty="0">
              <a:ln>
                <a:noFill/>
              </a:ln>
              <a:solidFill>
                <a:srgbClr val="003282"/>
              </a:solidFill>
              <a:effectLst/>
              <a:uLnTx/>
              <a:uFillTx/>
              <a:latin typeface="Verdana"/>
              <a:ea typeface="+mj-ea"/>
              <a:cs typeface="+mj-cs"/>
            </a:endParaRPr>
          </a:p>
        </p:txBody>
      </p:sp>
      <p:sp>
        <p:nvSpPr>
          <p:cNvPr id="31" name="Rechthoek 30"/>
          <p:cNvSpPr/>
          <p:nvPr/>
        </p:nvSpPr>
        <p:spPr>
          <a:xfrm>
            <a:off x="571499" y="288447"/>
            <a:ext cx="7200000" cy="19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all" spc="0" normalizeH="0" baseline="0" noProof="0" dirty="0">
                <a:ln>
                  <a:noFill/>
                </a:ln>
                <a:solidFill>
                  <a:srgbClr val="FFFFFF">
                    <a:lumMod val="85000"/>
                  </a:srgbClr>
                </a:solidFill>
                <a:effectLst/>
                <a:uLnTx/>
                <a:uFillTx/>
                <a:latin typeface="Verdana"/>
                <a:ea typeface="+mn-ea"/>
                <a:cs typeface="+mn-cs"/>
              </a:rPr>
              <a:t>INLEIDING</a:t>
            </a:r>
          </a:p>
        </p:txBody>
      </p:sp>
      <p:sp>
        <p:nvSpPr>
          <p:cNvPr id="33" name="Tijdelijke aanduiding voor voettekst 32"/>
          <p:cNvSpPr>
            <a:spLocks noGrp="1"/>
          </p:cNvSpPr>
          <p:nvPr>
            <p:ph type="ftr" sz="quarter" idx="15"/>
          </p:nvPr>
        </p:nvSpPr>
        <p:spPr/>
        <p:txBody>
          <a:bodyPr/>
          <a:lstStyle/>
          <a:p>
            <a:r>
              <a:rPr lang="nl-NL"/>
              <a:t>Behoefte functionele migratie SMZ</a:t>
            </a:r>
            <a:endParaRPr lang="en-GB" dirty="0"/>
          </a:p>
        </p:txBody>
      </p:sp>
      <p:sp>
        <p:nvSpPr>
          <p:cNvPr id="34" name="Tijdelijke aanduiding voor dianummer 33"/>
          <p:cNvSpPr>
            <a:spLocks noGrp="1"/>
          </p:cNvSpPr>
          <p:nvPr>
            <p:ph type="sldNum" sz="quarter" idx="16"/>
          </p:nvPr>
        </p:nvSpPr>
        <p:spPr/>
        <p:txBody>
          <a:bodyPr/>
          <a:lstStyle/>
          <a:p>
            <a:fld id="{EEC0F82C-4994-47DA-8D9B-99D78D224F6D}" type="slidenum">
              <a:rPr lang="en-GB" smtClean="0"/>
              <a:pPr/>
              <a:t>2</a:t>
            </a:fld>
            <a:endParaRPr lang="en-GB" dirty="0"/>
          </a:p>
        </p:txBody>
      </p:sp>
    </p:spTree>
    <p:extLst>
      <p:ext uri="{BB962C8B-B14F-4D97-AF65-F5344CB8AC3E}">
        <p14:creationId xmlns:p14="http://schemas.microsoft.com/office/powerpoint/2010/main" val="16831412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el 4"/>
          <p:cNvSpPr txBox="1">
            <a:spLocks/>
          </p:cNvSpPr>
          <p:nvPr/>
        </p:nvSpPr>
        <p:spPr bwMode="gray">
          <a:xfrm>
            <a:off x="571500" y="542166"/>
            <a:ext cx="11049000" cy="981834"/>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400" b="1" kern="1200">
                <a:solidFill>
                  <a:schemeClr val="tx2"/>
                </a:solidFill>
                <a:latin typeface="+mj-lt"/>
                <a:ea typeface="+mj-ea"/>
                <a:cs typeface="+mj-cs"/>
              </a:defRPr>
            </a:lvl1pPr>
          </a:lstStyle>
          <a:p>
            <a:pPr lvl="0">
              <a:defRPr/>
            </a:pPr>
            <a:r>
              <a:rPr lang="nl-NL" dirty="0">
                <a:solidFill>
                  <a:srgbClr val="003282"/>
                </a:solidFill>
              </a:rPr>
              <a:t>Strategisch heeft SMZ overkoepelende behoefte aan visie en klantbediening vanuit GD, inhoudelijk object-georiënteerd</a:t>
            </a:r>
            <a:endParaRPr kumimoji="0" lang="nl-NL" sz="2400" b="1" i="0" u="none" strike="noStrike" kern="1200" cap="none" spc="0" normalizeH="0" baseline="0" noProof="0" dirty="0">
              <a:ln>
                <a:noFill/>
              </a:ln>
              <a:solidFill>
                <a:srgbClr val="003282"/>
              </a:solidFill>
              <a:effectLst/>
              <a:uLnTx/>
              <a:uFillTx/>
              <a:latin typeface="Verdana"/>
              <a:ea typeface="+mj-ea"/>
              <a:cs typeface="+mj-cs"/>
            </a:endParaRPr>
          </a:p>
        </p:txBody>
      </p:sp>
      <p:sp>
        <p:nvSpPr>
          <p:cNvPr id="31" name="Rechthoek 30"/>
          <p:cNvSpPr/>
          <p:nvPr/>
        </p:nvSpPr>
        <p:spPr>
          <a:xfrm>
            <a:off x="571499" y="288447"/>
            <a:ext cx="7200000" cy="19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all" spc="0" normalizeH="0" baseline="0" noProof="0" dirty="0">
                <a:ln>
                  <a:noFill/>
                </a:ln>
                <a:solidFill>
                  <a:srgbClr val="FFFFFF">
                    <a:lumMod val="85000"/>
                  </a:srgbClr>
                </a:solidFill>
                <a:effectLst/>
                <a:uLnTx/>
                <a:uFillTx/>
                <a:latin typeface="Verdana"/>
                <a:ea typeface="+mn-ea"/>
                <a:cs typeface="+mn-cs"/>
              </a:rPr>
              <a:t>Strategisch</a:t>
            </a:r>
            <a:r>
              <a:rPr lang="nl-NL" sz="1000" b="1" cap="all" noProof="0" dirty="0">
                <a:solidFill>
                  <a:srgbClr val="FFFFFF">
                    <a:lumMod val="85000"/>
                  </a:srgbClr>
                </a:solidFill>
                <a:latin typeface="Verdana"/>
              </a:rPr>
              <a:t>e behoefte</a:t>
            </a:r>
            <a:endParaRPr kumimoji="0" lang="nl-NL" sz="1000" b="1" i="0" u="none" strike="noStrike" kern="1200" cap="all" spc="0" normalizeH="0" baseline="0" noProof="0" dirty="0">
              <a:ln>
                <a:noFill/>
              </a:ln>
              <a:solidFill>
                <a:srgbClr val="FFFFFF">
                  <a:lumMod val="85000"/>
                </a:srgbClr>
              </a:solidFill>
              <a:effectLst/>
              <a:uLnTx/>
              <a:uFillTx/>
              <a:latin typeface="Verdana"/>
              <a:ea typeface="+mn-ea"/>
              <a:cs typeface="+mn-cs"/>
            </a:endParaRPr>
          </a:p>
        </p:txBody>
      </p:sp>
      <p:grpSp>
        <p:nvGrpSpPr>
          <p:cNvPr id="16" name="Groep 15"/>
          <p:cNvGrpSpPr/>
          <p:nvPr/>
        </p:nvGrpSpPr>
        <p:grpSpPr>
          <a:xfrm>
            <a:off x="571500" y="3054696"/>
            <a:ext cx="3427744" cy="3100465"/>
            <a:chOff x="571498" y="2434216"/>
            <a:chExt cx="3135206" cy="3285489"/>
          </a:xfrm>
        </p:grpSpPr>
        <p:cxnSp>
          <p:nvCxnSpPr>
            <p:cNvPr id="3" name="Rechte verbindingslijn 2"/>
            <p:cNvCxnSpPr/>
            <p:nvPr/>
          </p:nvCxnSpPr>
          <p:spPr>
            <a:xfrm>
              <a:off x="571498" y="2882256"/>
              <a:ext cx="3132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hthoek 7"/>
            <p:cNvSpPr/>
            <p:nvPr/>
          </p:nvSpPr>
          <p:spPr>
            <a:xfrm>
              <a:off x="934497" y="2434216"/>
              <a:ext cx="2769001" cy="317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1400" b="1" dirty="0">
                  <a:solidFill>
                    <a:schemeClr val="tx1"/>
                  </a:solidFill>
                </a:rPr>
                <a:t>Inhoud</a:t>
              </a:r>
            </a:p>
          </p:txBody>
        </p:sp>
        <p:sp>
          <p:nvSpPr>
            <p:cNvPr id="9" name="Rechthoek 8"/>
            <p:cNvSpPr/>
            <p:nvPr/>
          </p:nvSpPr>
          <p:spPr>
            <a:xfrm>
              <a:off x="571498" y="2882257"/>
              <a:ext cx="3135206" cy="2837448"/>
            </a:xfrm>
            <a:prstGeom prst="rect">
              <a:avLst/>
            </a:prstGeom>
            <a:ln>
              <a:noFill/>
            </a:ln>
          </p:spPr>
          <p:txBody>
            <a:bodyPr wrap="square">
              <a:spAutoFit/>
            </a:bodyPr>
            <a:lstStyle/>
            <a:p>
              <a:pPr marL="171450" indent="-171450">
                <a:buFont typeface="Arial" panose="020B0604020202020204" pitchFamily="34" charset="0"/>
                <a:buChar char="•"/>
              </a:pPr>
              <a:r>
                <a:rPr lang="nl-NL" sz="1200" dirty="0"/>
                <a:t>Een ontwerp op basis van een functioneel model dat object georiënteerd is;</a:t>
              </a:r>
            </a:p>
            <a:p>
              <a:pPr marL="361950" lvl="1" indent="-180975">
                <a:buFont typeface="Courier New" panose="02070309020205020404" pitchFamily="49" charset="0"/>
                <a:buChar char="o"/>
              </a:pPr>
              <a:r>
                <a:rPr lang="nl-NL" sz="1200" dirty="0"/>
                <a:t>Dit sluit aan bij de gegevensmodellen die op dit moment o.l.v. data office ontwikkeld worden</a:t>
              </a:r>
            </a:p>
            <a:p>
              <a:pPr marL="361950" lvl="1" indent="-180975">
                <a:buFont typeface="Courier New" panose="02070309020205020404" pitchFamily="49" charset="0"/>
                <a:buChar char="o"/>
              </a:pPr>
              <a:r>
                <a:rPr lang="nl-NL" sz="1200" dirty="0"/>
                <a:t>Dit geeft richting aan de te ontsluiten bronnen</a:t>
              </a:r>
            </a:p>
            <a:p>
              <a:pPr marL="361950" lvl="1" indent="-180975">
                <a:buFont typeface="Courier New" panose="02070309020205020404" pitchFamily="49" charset="0"/>
                <a:buChar char="o"/>
              </a:pPr>
              <a:r>
                <a:rPr lang="nl-NL" sz="1200" dirty="0"/>
                <a:t>Dit geeft richting aan welke gegevens uit welke bron moeten komen (1 bron per gegeven)</a:t>
              </a:r>
            </a:p>
            <a:p>
              <a:pPr marL="361950" lvl="1" indent="-180975">
                <a:buFont typeface="Courier New" panose="02070309020205020404" pitchFamily="49" charset="0"/>
                <a:buChar char="o"/>
              </a:pPr>
              <a:r>
                <a:rPr lang="nl-NL" sz="1200" dirty="0"/>
                <a:t>Dit geeft richting aan de integratie van gegevens in de integratiezone</a:t>
              </a:r>
            </a:p>
          </p:txBody>
        </p:sp>
      </p:grpSp>
      <p:grpSp>
        <p:nvGrpSpPr>
          <p:cNvPr id="18" name="Groep 17"/>
          <p:cNvGrpSpPr/>
          <p:nvPr/>
        </p:nvGrpSpPr>
        <p:grpSpPr>
          <a:xfrm>
            <a:off x="4383881" y="3054696"/>
            <a:ext cx="3424239" cy="1909979"/>
            <a:chOff x="4530131" y="2434216"/>
            <a:chExt cx="3132000" cy="1909979"/>
          </a:xfrm>
        </p:grpSpPr>
        <p:cxnSp>
          <p:nvCxnSpPr>
            <p:cNvPr id="21" name="Rechte verbindingslijn 20"/>
            <p:cNvCxnSpPr/>
            <p:nvPr/>
          </p:nvCxnSpPr>
          <p:spPr>
            <a:xfrm>
              <a:off x="4530131" y="2882256"/>
              <a:ext cx="3132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Rechthoek 31"/>
            <p:cNvSpPr/>
            <p:nvPr/>
          </p:nvSpPr>
          <p:spPr>
            <a:xfrm>
              <a:off x="4893130" y="2434216"/>
              <a:ext cx="2769001" cy="317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1400" b="1" dirty="0">
                  <a:solidFill>
                    <a:schemeClr val="tx1"/>
                  </a:solidFill>
                </a:rPr>
                <a:t>Proces</a:t>
              </a:r>
              <a:endParaRPr lang="nl-NL" sz="1600" b="1" dirty="0">
                <a:solidFill>
                  <a:schemeClr val="tx1"/>
                </a:solidFill>
              </a:endParaRPr>
            </a:p>
          </p:txBody>
        </p:sp>
        <p:sp>
          <p:nvSpPr>
            <p:cNvPr id="34" name="Rechthoek 33"/>
            <p:cNvSpPr/>
            <p:nvPr/>
          </p:nvSpPr>
          <p:spPr>
            <a:xfrm>
              <a:off x="4530131" y="2882256"/>
              <a:ext cx="3132000" cy="1461939"/>
            </a:xfrm>
            <a:prstGeom prst="rect">
              <a:avLst/>
            </a:prstGeom>
          </p:spPr>
          <p:txBody>
            <a:bodyPr wrap="square">
              <a:spAutoFit/>
            </a:bodyPr>
            <a:lstStyle/>
            <a:p>
              <a:pPr marL="171450" indent="-171450">
                <a:buFont typeface="Arial" panose="020B0604020202020204" pitchFamily="34" charset="0"/>
                <a:buChar char="•"/>
              </a:pPr>
              <a:r>
                <a:rPr lang="nl-NL" sz="1200" dirty="0"/>
                <a:t>Beeld in de wijze waarop invulling wordt geven aan inhoud en opzet van het DIM</a:t>
              </a:r>
            </a:p>
            <a:p>
              <a:pPr marL="171450" indent="-171450">
                <a:spcBef>
                  <a:spcPts val="300"/>
                </a:spcBef>
                <a:buFont typeface="Arial" panose="020B0604020202020204" pitchFamily="34" charset="0"/>
                <a:buChar char="•"/>
              </a:pPr>
              <a:r>
                <a:rPr lang="nl-NL" sz="1200" dirty="0"/>
                <a:t>Inzicht in toegankelijkheid: wie, waartoe inclusief wie welke rol heeft in het gegeven en verkregen van toegang</a:t>
              </a:r>
            </a:p>
            <a:p>
              <a:pPr marL="171450" indent="-171450">
                <a:spcBef>
                  <a:spcPts val="300"/>
                </a:spcBef>
                <a:buFont typeface="Arial" panose="020B0604020202020204" pitchFamily="34" charset="0"/>
                <a:buChar char="•"/>
              </a:pPr>
              <a:r>
                <a:rPr lang="nl-NL" sz="1200" dirty="0"/>
                <a:t>Duidelijk change proces</a:t>
              </a:r>
            </a:p>
          </p:txBody>
        </p:sp>
      </p:grpSp>
      <p:grpSp>
        <p:nvGrpSpPr>
          <p:cNvPr id="17" name="Groep 16"/>
          <p:cNvGrpSpPr/>
          <p:nvPr/>
        </p:nvGrpSpPr>
        <p:grpSpPr>
          <a:xfrm>
            <a:off x="8196261" y="3054696"/>
            <a:ext cx="3424239" cy="2425504"/>
            <a:chOff x="8488500" y="2434216"/>
            <a:chExt cx="3132000" cy="2425504"/>
          </a:xfrm>
        </p:grpSpPr>
        <p:cxnSp>
          <p:nvCxnSpPr>
            <p:cNvPr id="29" name="Rechte verbindingslijn 28"/>
            <p:cNvCxnSpPr/>
            <p:nvPr/>
          </p:nvCxnSpPr>
          <p:spPr>
            <a:xfrm>
              <a:off x="8488763" y="2882256"/>
              <a:ext cx="313173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Rechthoek 32"/>
            <p:cNvSpPr/>
            <p:nvPr/>
          </p:nvSpPr>
          <p:spPr>
            <a:xfrm>
              <a:off x="8851499" y="2434216"/>
              <a:ext cx="2769001" cy="317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1400" b="1" dirty="0">
                  <a:solidFill>
                    <a:schemeClr val="tx1"/>
                  </a:solidFill>
                </a:rPr>
                <a:t>Organisatie </a:t>
              </a:r>
            </a:p>
          </p:txBody>
        </p:sp>
        <p:sp>
          <p:nvSpPr>
            <p:cNvPr id="35" name="Rechthoek 34"/>
            <p:cNvSpPr/>
            <p:nvPr/>
          </p:nvSpPr>
          <p:spPr>
            <a:xfrm>
              <a:off x="8488500" y="2882256"/>
              <a:ext cx="3132000" cy="1977464"/>
            </a:xfrm>
            <a:prstGeom prst="rect">
              <a:avLst/>
            </a:prstGeom>
          </p:spPr>
          <p:txBody>
            <a:bodyPr wrap="square">
              <a:spAutoFit/>
            </a:bodyPr>
            <a:lstStyle/>
            <a:p>
              <a:pPr marL="171450" indent="-171450">
                <a:buFont typeface="Arial" panose="020B0604020202020204" pitchFamily="34" charset="0"/>
                <a:buChar char="•"/>
              </a:pPr>
              <a:r>
                <a:rPr lang="nl-NL" sz="1200" dirty="0"/>
                <a:t>Visie op </a:t>
              </a:r>
              <a:r>
                <a:rPr lang="nl-NL" sz="1200" dirty="0" err="1"/>
                <a:t>datagovernance</a:t>
              </a:r>
              <a:r>
                <a:rPr lang="nl-NL" sz="1200" dirty="0"/>
                <a:t> en daarmee: </a:t>
              </a:r>
            </a:p>
            <a:p>
              <a:pPr marL="171450" indent="-171450">
                <a:buFont typeface="Arial" panose="020B0604020202020204" pitchFamily="34" charset="0"/>
                <a:buChar char="•"/>
              </a:pPr>
              <a:r>
                <a:rPr lang="nl-NL" sz="1200" dirty="0"/>
                <a:t>Geformaliseerde en belegde verantwoordelijkheden voor de verschillende onderdelen van het DIM (“wie doet wat”, eigenaarschap)</a:t>
              </a:r>
            </a:p>
            <a:p>
              <a:pPr marL="171450" indent="-171450">
                <a:spcBef>
                  <a:spcPts val="300"/>
                </a:spcBef>
                <a:buFont typeface="Arial" panose="020B0604020202020204" pitchFamily="34" charset="0"/>
                <a:buChar char="•"/>
              </a:pPr>
              <a:r>
                <a:rPr lang="nl-NL" sz="1200" dirty="0"/>
                <a:t>Ingericht </a:t>
              </a:r>
              <a:r>
                <a:rPr lang="nl-NL" sz="1200" dirty="0" err="1"/>
                <a:t>klantorderontkoppelpunt</a:t>
              </a:r>
              <a:r>
                <a:rPr lang="nl-NL" sz="1200" dirty="0"/>
                <a:t> (KOOP) dus feite tot waar reikt de dienstverlening van DWH in de keten en waar begint de verantwoordelijkheid van de afnemer</a:t>
              </a:r>
            </a:p>
          </p:txBody>
        </p:sp>
      </p:grpSp>
      <p:sp>
        <p:nvSpPr>
          <p:cNvPr id="15" name="Rechthoek 14"/>
          <p:cNvSpPr/>
          <p:nvPr/>
        </p:nvSpPr>
        <p:spPr>
          <a:xfrm>
            <a:off x="571500" y="1523999"/>
            <a:ext cx="11049000" cy="11325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nl-NL" sz="1200" dirty="0">
                <a:solidFill>
                  <a:schemeClr val="tx1"/>
                </a:solidFill>
              </a:rPr>
              <a:t>Een gezamenlijke concrete visie van Gegevensdiensten, SMZ en de andere divisies op de functie van het Data Integratiemagazijn, dat wil zeggen wat willen we als organisatie kunnen met het DIM en wat willen we ermee bereiken (daarmee ook een visie op BI/BA)</a:t>
            </a:r>
          </a:p>
          <a:p>
            <a:pPr marL="171450" indent="-171450">
              <a:spcBef>
                <a:spcPts val="600"/>
              </a:spcBef>
              <a:buFont typeface="Arial" panose="020B0604020202020204" pitchFamily="34" charset="0"/>
              <a:buChar char="•"/>
            </a:pPr>
            <a:r>
              <a:rPr lang="nl-NL" sz="1200" dirty="0">
                <a:solidFill>
                  <a:schemeClr val="tx1"/>
                </a:solidFill>
              </a:rPr>
              <a:t>Medewerkers van GD kunnen de vertaalslag maken van de geformuleerde business behoefte naar de techniek. Ze kunnen schetsen welke scenario's/opties de techniek biedt om invulling te geven aan die behoefte en op welke termijn. Het gaat om het stellen van de juiste vragen aan de hand van de behoefte en de technische mogelijkheden om de behoefte scherper te stellen</a:t>
            </a:r>
          </a:p>
        </p:txBody>
      </p:sp>
      <p:sp>
        <p:nvSpPr>
          <p:cNvPr id="37" name="Freeform 216"/>
          <p:cNvSpPr>
            <a:spLocks noEditPoints="1"/>
          </p:cNvSpPr>
          <p:nvPr/>
        </p:nvSpPr>
        <p:spPr bwMode="auto">
          <a:xfrm>
            <a:off x="574618" y="3005585"/>
            <a:ext cx="393752" cy="397757"/>
          </a:xfrm>
          <a:custGeom>
            <a:avLst/>
            <a:gdLst>
              <a:gd name="T0" fmla="*/ 321 w 374"/>
              <a:gd name="T1" fmla="*/ 151 h 375"/>
              <a:gd name="T2" fmla="*/ 336 w 374"/>
              <a:gd name="T3" fmla="*/ 81 h 375"/>
              <a:gd name="T4" fmla="*/ 336 w 374"/>
              <a:gd name="T5" fmla="*/ 73 h 375"/>
              <a:gd name="T6" fmla="*/ 298 w 374"/>
              <a:gd name="T7" fmla="*/ 36 h 375"/>
              <a:gd name="T8" fmla="*/ 255 w 374"/>
              <a:gd name="T9" fmla="*/ 67 h 375"/>
              <a:gd name="T10" fmla="*/ 216 w 374"/>
              <a:gd name="T11" fmla="*/ 5 h 375"/>
              <a:gd name="T12" fmla="*/ 211 w 374"/>
              <a:gd name="T13" fmla="*/ 0 h 375"/>
              <a:gd name="T14" fmla="*/ 159 w 374"/>
              <a:gd name="T15" fmla="*/ 1 h 375"/>
              <a:gd name="T16" fmla="*/ 151 w 374"/>
              <a:gd name="T17" fmla="*/ 54 h 375"/>
              <a:gd name="T18" fmla="*/ 79 w 374"/>
              <a:gd name="T19" fmla="*/ 38 h 375"/>
              <a:gd name="T20" fmla="*/ 71 w 374"/>
              <a:gd name="T21" fmla="*/ 38 h 375"/>
              <a:gd name="T22" fmla="*/ 35 w 374"/>
              <a:gd name="T23" fmla="*/ 77 h 375"/>
              <a:gd name="T24" fmla="*/ 66 w 374"/>
              <a:gd name="T25" fmla="*/ 118 h 375"/>
              <a:gd name="T26" fmla="*/ 5 w 374"/>
              <a:gd name="T27" fmla="*/ 157 h 375"/>
              <a:gd name="T28" fmla="*/ 0 w 374"/>
              <a:gd name="T29" fmla="*/ 163 h 375"/>
              <a:gd name="T30" fmla="*/ 1 w 374"/>
              <a:gd name="T31" fmla="*/ 215 h 375"/>
              <a:gd name="T32" fmla="*/ 52 w 374"/>
              <a:gd name="T33" fmla="*/ 224 h 375"/>
              <a:gd name="T34" fmla="*/ 36 w 374"/>
              <a:gd name="T35" fmla="*/ 294 h 375"/>
              <a:gd name="T36" fmla="*/ 38 w 374"/>
              <a:gd name="T37" fmla="*/ 302 h 375"/>
              <a:gd name="T38" fmla="*/ 74 w 374"/>
              <a:gd name="T39" fmla="*/ 339 h 375"/>
              <a:gd name="T40" fmla="*/ 79 w 374"/>
              <a:gd name="T41" fmla="*/ 337 h 375"/>
              <a:gd name="T42" fmla="*/ 133 w 374"/>
              <a:gd name="T43" fmla="*/ 316 h 375"/>
              <a:gd name="T44" fmla="*/ 156 w 374"/>
              <a:gd name="T45" fmla="*/ 370 h 375"/>
              <a:gd name="T46" fmla="*/ 211 w 374"/>
              <a:gd name="T47" fmla="*/ 375 h 375"/>
              <a:gd name="T48" fmla="*/ 216 w 374"/>
              <a:gd name="T49" fmla="*/ 370 h 375"/>
              <a:gd name="T50" fmla="*/ 239 w 374"/>
              <a:gd name="T51" fmla="*/ 316 h 375"/>
              <a:gd name="T52" fmla="*/ 294 w 374"/>
              <a:gd name="T53" fmla="*/ 337 h 375"/>
              <a:gd name="T54" fmla="*/ 300 w 374"/>
              <a:gd name="T55" fmla="*/ 339 h 375"/>
              <a:gd name="T56" fmla="*/ 336 w 374"/>
              <a:gd name="T57" fmla="*/ 302 h 375"/>
              <a:gd name="T58" fmla="*/ 308 w 374"/>
              <a:gd name="T59" fmla="*/ 257 h 375"/>
              <a:gd name="T60" fmla="*/ 321 w 374"/>
              <a:gd name="T61" fmla="*/ 224 h 375"/>
              <a:gd name="T62" fmla="*/ 372 w 374"/>
              <a:gd name="T63" fmla="*/ 215 h 375"/>
              <a:gd name="T64" fmla="*/ 374 w 374"/>
              <a:gd name="T65" fmla="*/ 163 h 375"/>
              <a:gd name="T66" fmla="*/ 368 w 374"/>
              <a:gd name="T67" fmla="*/ 157 h 375"/>
              <a:gd name="T68" fmla="*/ 179 w 374"/>
              <a:gd name="T69" fmla="*/ 266 h 375"/>
              <a:gd name="T70" fmla="*/ 142 w 374"/>
              <a:gd name="T71" fmla="*/ 254 h 375"/>
              <a:gd name="T72" fmla="*/ 113 w 374"/>
              <a:gd name="T73" fmla="*/ 219 h 375"/>
              <a:gd name="T74" fmla="*/ 108 w 374"/>
              <a:gd name="T75" fmla="*/ 187 h 375"/>
              <a:gd name="T76" fmla="*/ 109 w 374"/>
              <a:gd name="T77" fmla="*/ 171 h 375"/>
              <a:gd name="T78" fmla="*/ 130 w 374"/>
              <a:gd name="T79" fmla="*/ 132 h 375"/>
              <a:gd name="T80" fmla="*/ 171 w 374"/>
              <a:gd name="T81" fmla="*/ 109 h 375"/>
              <a:gd name="T82" fmla="*/ 187 w 374"/>
              <a:gd name="T83" fmla="*/ 108 h 375"/>
              <a:gd name="T84" fmla="*/ 218 w 374"/>
              <a:gd name="T85" fmla="*/ 114 h 375"/>
              <a:gd name="T86" fmla="*/ 253 w 374"/>
              <a:gd name="T87" fmla="*/ 142 h 375"/>
              <a:gd name="T88" fmla="*/ 266 w 374"/>
              <a:gd name="T89" fmla="*/ 179 h 375"/>
              <a:gd name="T90" fmla="*/ 266 w 374"/>
              <a:gd name="T91" fmla="*/ 196 h 375"/>
              <a:gd name="T92" fmla="*/ 253 w 374"/>
              <a:gd name="T93" fmla="*/ 233 h 375"/>
              <a:gd name="T94" fmla="*/ 218 w 374"/>
              <a:gd name="T95" fmla="*/ 261 h 375"/>
              <a:gd name="T96" fmla="*/ 187 w 374"/>
              <a:gd name="T97" fmla="*/ 26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4" h="375">
                <a:moveTo>
                  <a:pt x="368" y="157"/>
                </a:moveTo>
                <a:lnTo>
                  <a:pt x="321" y="151"/>
                </a:lnTo>
                <a:lnTo>
                  <a:pt x="321" y="151"/>
                </a:lnTo>
                <a:lnTo>
                  <a:pt x="314" y="134"/>
                </a:lnTo>
                <a:lnTo>
                  <a:pt x="308" y="118"/>
                </a:lnTo>
                <a:lnTo>
                  <a:pt x="336" y="81"/>
                </a:lnTo>
                <a:lnTo>
                  <a:pt x="336" y="81"/>
                </a:lnTo>
                <a:lnTo>
                  <a:pt x="337" y="77"/>
                </a:lnTo>
                <a:lnTo>
                  <a:pt x="336" y="73"/>
                </a:lnTo>
                <a:lnTo>
                  <a:pt x="302" y="38"/>
                </a:lnTo>
                <a:lnTo>
                  <a:pt x="302" y="38"/>
                </a:lnTo>
                <a:lnTo>
                  <a:pt x="298" y="36"/>
                </a:lnTo>
                <a:lnTo>
                  <a:pt x="294" y="38"/>
                </a:lnTo>
                <a:lnTo>
                  <a:pt x="255" y="67"/>
                </a:lnTo>
                <a:lnTo>
                  <a:pt x="255" y="67"/>
                </a:lnTo>
                <a:lnTo>
                  <a:pt x="239" y="59"/>
                </a:lnTo>
                <a:lnTo>
                  <a:pt x="223" y="54"/>
                </a:lnTo>
                <a:lnTo>
                  <a:pt x="216" y="5"/>
                </a:lnTo>
                <a:lnTo>
                  <a:pt x="216" y="5"/>
                </a:lnTo>
                <a:lnTo>
                  <a:pt x="215" y="1"/>
                </a:lnTo>
                <a:lnTo>
                  <a:pt x="211" y="0"/>
                </a:lnTo>
                <a:lnTo>
                  <a:pt x="163" y="0"/>
                </a:lnTo>
                <a:lnTo>
                  <a:pt x="163" y="0"/>
                </a:lnTo>
                <a:lnTo>
                  <a:pt x="159" y="1"/>
                </a:lnTo>
                <a:lnTo>
                  <a:pt x="156" y="5"/>
                </a:lnTo>
                <a:lnTo>
                  <a:pt x="151" y="54"/>
                </a:lnTo>
                <a:lnTo>
                  <a:pt x="151" y="54"/>
                </a:lnTo>
                <a:lnTo>
                  <a:pt x="133" y="59"/>
                </a:lnTo>
                <a:lnTo>
                  <a:pt x="118" y="67"/>
                </a:lnTo>
                <a:lnTo>
                  <a:pt x="79" y="38"/>
                </a:lnTo>
                <a:lnTo>
                  <a:pt x="79" y="38"/>
                </a:lnTo>
                <a:lnTo>
                  <a:pt x="75" y="36"/>
                </a:lnTo>
                <a:lnTo>
                  <a:pt x="71" y="38"/>
                </a:lnTo>
                <a:lnTo>
                  <a:pt x="38" y="73"/>
                </a:lnTo>
                <a:lnTo>
                  <a:pt x="38" y="73"/>
                </a:lnTo>
                <a:lnTo>
                  <a:pt x="35" y="77"/>
                </a:lnTo>
                <a:lnTo>
                  <a:pt x="36" y="81"/>
                </a:lnTo>
                <a:lnTo>
                  <a:pt x="66" y="118"/>
                </a:lnTo>
                <a:lnTo>
                  <a:pt x="66" y="118"/>
                </a:lnTo>
                <a:lnTo>
                  <a:pt x="58" y="134"/>
                </a:lnTo>
                <a:lnTo>
                  <a:pt x="52" y="151"/>
                </a:lnTo>
                <a:lnTo>
                  <a:pt x="5" y="157"/>
                </a:lnTo>
                <a:lnTo>
                  <a:pt x="5" y="157"/>
                </a:lnTo>
                <a:lnTo>
                  <a:pt x="1" y="160"/>
                </a:lnTo>
                <a:lnTo>
                  <a:pt x="0" y="163"/>
                </a:lnTo>
                <a:lnTo>
                  <a:pt x="0" y="211"/>
                </a:lnTo>
                <a:lnTo>
                  <a:pt x="0" y="211"/>
                </a:lnTo>
                <a:lnTo>
                  <a:pt x="1" y="215"/>
                </a:lnTo>
                <a:lnTo>
                  <a:pt x="5" y="218"/>
                </a:lnTo>
                <a:lnTo>
                  <a:pt x="52" y="224"/>
                </a:lnTo>
                <a:lnTo>
                  <a:pt x="52" y="224"/>
                </a:lnTo>
                <a:lnTo>
                  <a:pt x="58" y="241"/>
                </a:lnTo>
                <a:lnTo>
                  <a:pt x="66" y="257"/>
                </a:lnTo>
                <a:lnTo>
                  <a:pt x="36" y="294"/>
                </a:lnTo>
                <a:lnTo>
                  <a:pt x="36" y="294"/>
                </a:lnTo>
                <a:lnTo>
                  <a:pt x="35" y="298"/>
                </a:lnTo>
                <a:lnTo>
                  <a:pt x="38" y="302"/>
                </a:lnTo>
                <a:lnTo>
                  <a:pt x="71" y="337"/>
                </a:lnTo>
                <a:lnTo>
                  <a:pt x="71" y="337"/>
                </a:lnTo>
                <a:lnTo>
                  <a:pt x="74" y="339"/>
                </a:lnTo>
                <a:lnTo>
                  <a:pt x="75" y="339"/>
                </a:lnTo>
                <a:lnTo>
                  <a:pt x="75" y="339"/>
                </a:lnTo>
                <a:lnTo>
                  <a:pt x="79" y="337"/>
                </a:lnTo>
                <a:lnTo>
                  <a:pt x="118" y="308"/>
                </a:lnTo>
                <a:lnTo>
                  <a:pt x="118" y="308"/>
                </a:lnTo>
                <a:lnTo>
                  <a:pt x="133" y="316"/>
                </a:lnTo>
                <a:lnTo>
                  <a:pt x="151" y="321"/>
                </a:lnTo>
                <a:lnTo>
                  <a:pt x="156" y="370"/>
                </a:lnTo>
                <a:lnTo>
                  <a:pt x="156" y="370"/>
                </a:lnTo>
                <a:lnTo>
                  <a:pt x="159" y="374"/>
                </a:lnTo>
                <a:lnTo>
                  <a:pt x="163" y="375"/>
                </a:lnTo>
                <a:lnTo>
                  <a:pt x="211" y="375"/>
                </a:lnTo>
                <a:lnTo>
                  <a:pt x="211" y="375"/>
                </a:lnTo>
                <a:lnTo>
                  <a:pt x="215" y="374"/>
                </a:lnTo>
                <a:lnTo>
                  <a:pt x="216" y="370"/>
                </a:lnTo>
                <a:lnTo>
                  <a:pt x="223" y="321"/>
                </a:lnTo>
                <a:lnTo>
                  <a:pt x="223" y="321"/>
                </a:lnTo>
                <a:lnTo>
                  <a:pt x="239" y="316"/>
                </a:lnTo>
                <a:lnTo>
                  <a:pt x="255" y="308"/>
                </a:lnTo>
                <a:lnTo>
                  <a:pt x="294" y="337"/>
                </a:lnTo>
                <a:lnTo>
                  <a:pt x="294" y="337"/>
                </a:lnTo>
                <a:lnTo>
                  <a:pt x="297" y="339"/>
                </a:lnTo>
                <a:lnTo>
                  <a:pt x="297" y="339"/>
                </a:lnTo>
                <a:lnTo>
                  <a:pt x="300" y="339"/>
                </a:lnTo>
                <a:lnTo>
                  <a:pt x="302" y="337"/>
                </a:lnTo>
                <a:lnTo>
                  <a:pt x="336" y="302"/>
                </a:lnTo>
                <a:lnTo>
                  <a:pt x="336" y="302"/>
                </a:lnTo>
                <a:lnTo>
                  <a:pt x="337" y="298"/>
                </a:lnTo>
                <a:lnTo>
                  <a:pt x="336" y="294"/>
                </a:lnTo>
                <a:lnTo>
                  <a:pt x="308" y="257"/>
                </a:lnTo>
                <a:lnTo>
                  <a:pt x="308" y="257"/>
                </a:lnTo>
                <a:lnTo>
                  <a:pt x="314" y="241"/>
                </a:lnTo>
                <a:lnTo>
                  <a:pt x="321" y="224"/>
                </a:lnTo>
                <a:lnTo>
                  <a:pt x="368" y="218"/>
                </a:lnTo>
                <a:lnTo>
                  <a:pt x="368" y="218"/>
                </a:lnTo>
                <a:lnTo>
                  <a:pt x="372" y="215"/>
                </a:lnTo>
                <a:lnTo>
                  <a:pt x="374" y="211"/>
                </a:lnTo>
                <a:lnTo>
                  <a:pt x="374" y="163"/>
                </a:lnTo>
                <a:lnTo>
                  <a:pt x="374" y="163"/>
                </a:lnTo>
                <a:lnTo>
                  <a:pt x="372" y="160"/>
                </a:lnTo>
                <a:lnTo>
                  <a:pt x="368" y="157"/>
                </a:lnTo>
                <a:lnTo>
                  <a:pt x="368" y="157"/>
                </a:lnTo>
                <a:close/>
                <a:moveTo>
                  <a:pt x="187" y="267"/>
                </a:moveTo>
                <a:lnTo>
                  <a:pt x="187" y="267"/>
                </a:lnTo>
                <a:lnTo>
                  <a:pt x="179" y="266"/>
                </a:lnTo>
                <a:lnTo>
                  <a:pt x="171" y="266"/>
                </a:lnTo>
                <a:lnTo>
                  <a:pt x="156" y="261"/>
                </a:lnTo>
                <a:lnTo>
                  <a:pt x="142" y="254"/>
                </a:lnTo>
                <a:lnTo>
                  <a:pt x="130" y="243"/>
                </a:lnTo>
                <a:lnTo>
                  <a:pt x="121" y="233"/>
                </a:lnTo>
                <a:lnTo>
                  <a:pt x="113" y="219"/>
                </a:lnTo>
                <a:lnTo>
                  <a:pt x="109" y="203"/>
                </a:lnTo>
                <a:lnTo>
                  <a:pt x="108" y="196"/>
                </a:lnTo>
                <a:lnTo>
                  <a:pt x="108" y="187"/>
                </a:lnTo>
                <a:lnTo>
                  <a:pt x="108" y="187"/>
                </a:lnTo>
                <a:lnTo>
                  <a:pt x="108" y="179"/>
                </a:lnTo>
                <a:lnTo>
                  <a:pt x="109" y="171"/>
                </a:lnTo>
                <a:lnTo>
                  <a:pt x="113" y="156"/>
                </a:lnTo>
                <a:lnTo>
                  <a:pt x="121" y="142"/>
                </a:lnTo>
                <a:lnTo>
                  <a:pt x="130" y="132"/>
                </a:lnTo>
                <a:lnTo>
                  <a:pt x="142" y="121"/>
                </a:lnTo>
                <a:lnTo>
                  <a:pt x="156" y="114"/>
                </a:lnTo>
                <a:lnTo>
                  <a:pt x="171" y="109"/>
                </a:lnTo>
                <a:lnTo>
                  <a:pt x="179" y="108"/>
                </a:lnTo>
                <a:lnTo>
                  <a:pt x="187" y="108"/>
                </a:lnTo>
                <a:lnTo>
                  <a:pt x="187" y="108"/>
                </a:lnTo>
                <a:lnTo>
                  <a:pt x="195" y="108"/>
                </a:lnTo>
                <a:lnTo>
                  <a:pt x="203" y="109"/>
                </a:lnTo>
                <a:lnTo>
                  <a:pt x="218" y="114"/>
                </a:lnTo>
                <a:lnTo>
                  <a:pt x="231" y="121"/>
                </a:lnTo>
                <a:lnTo>
                  <a:pt x="243" y="132"/>
                </a:lnTo>
                <a:lnTo>
                  <a:pt x="253" y="142"/>
                </a:lnTo>
                <a:lnTo>
                  <a:pt x="259" y="156"/>
                </a:lnTo>
                <a:lnTo>
                  <a:pt x="265" y="171"/>
                </a:lnTo>
                <a:lnTo>
                  <a:pt x="266" y="179"/>
                </a:lnTo>
                <a:lnTo>
                  <a:pt x="266" y="187"/>
                </a:lnTo>
                <a:lnTo>
                  <a:pt x="266" y="187"/>
                </a:lnTo>
                <a:lnTo>
                  <a:pt x="266" y="196"/>
                </a:lnTo>
                <a:lnTo>
                  <a:pt x="265" y="203"/>
                </a:lnTo>
                <a:lnTo>
                  <a:pt x="259" y="219"/>
                </a:lnTo>
                <a:lnTo>
                  <a:pt x="253" y="233"/>
                </a:lnTo>
                <a:lnTo>
                  <a:pt x="243" y="243"/>
                </a:lnTo>
                <a:lnTo>
                  <a:pt x="231" y="254"/>
                </a:lnTo>
                <a:lnTo>
                  <a:pt x="218" y="261"/>
                </a:lnTo>
                <a:lnTo>
                  <a:pt x="203" y="266"/>
                </a:lnTo>
                <a:lnTo>
                  <a:pt x="195" y="266"/>
                </a:lnTo>
                <a:lnTo>
                  <a:pt x="187" y="267"/>
                </a:lnTo>
                <a:lnTo>
                  <a:pt x="187" y="26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8" name="Group 310"/>
          <p:cNvGrpSpPr>
            <a:grpSpLocks noChangeAspect="1"/>
          </p:cNvGrpSpPr>
          <p:nvPr/>
        </p:nvGrpSpPr>
        <p:grpSpPr>
          <a:xfrm>
            <a:off x="4383881" y="3065310"/>
            <a:ext cx="414167" cy="338032"/>
            <a:chOff x="10331451" y="1838325"/>
            <a:chExt cx="312738" cy="206375"/>
          </a:xfrm>
          <a:solidFill>
            <a:schemeClr val="tx1"/>
          </a:solidFill>
        </p:grpSpPr>
        <p:sp>
          <p:nvSpPr>
            <p:cNvPr id="39" name="Freeform 282"/>
            <p:cNvSpPr>
              <a:spLocks/>
            </p:cNvSpPr>
            <p:nvPr/>
          </p:nvSpPr>
          <p:spPr bwMode="auto">
            <a:xfrm>
              <a:off x="10483851" y="1919288"/>
              <a:ext cx="7938" cy="41275"/>
            </a:xfrm>
            <a:custGeom>
              <a:avLst/>
              <a:gdLst>
                <a:gd name="T0" fmla="*/ 5 w 11"/>
                <a:gd name="T1" fmla="*/ 0 h 51"/>
                <a:gd name="T2" fmla="*/ 5 w 11"/>
                <a:gd name="T3" fmla="*/ 0 h 51"/>
                <a:gd name="T4" fmla="*/ 1 w 11"/>
                <a:gd name="T5" fmla="*/ 2 h 51"/>
                <a:gd name="T6" fmla="*/ 1 w 11"/>
                <a:gd name="T7" fmla="*/ 4 h 51"/>
                <a:gd name="T8" fmla="*/ 0 w 11"/>
                <a:gd name="T9" fmla="*/ 5 h 51"/>
                <a:gd name="T10" fmla="*/ 0 w 11"/>
                <a:gd name="T11" fmla="*/ 45 h 51"/>
                <a:gd name="T12" fmla="*/ 0 w 11"/>
                <a:gd name="T13" fmla="*/ 45 h 51"/>
                <a:gd name="T14" fmla="*/ 1 w 11"/>
                <a:gd name="T15" fmla="*/ 48 h 51"/>
                <a:gd name="T16" fmla="*/ 1 w 11"/>
                <a:gd name="T17" fmla="*/ 49 h 51"/>
                <a:gd name="T18" fmla="*/ 5 w 11"/>
                <a:gd name="T19" fmla="*/ 51 h 51"/>
                <a:gd name="T20" fmla="*/ 5 w 11"/>
                <a:gd name="T21" fmla="*/ 51 h 51"/>
                <a:gd name="T22" fmla="*/ 9 w 11"/>
                <a:gd name="T23" fmla="*/ 49 h 51"/>
                <a:gd name="T24" fmla="*/ 11 w 11"/>
                <a:gd name="T25" fmla="*/ 48 h 51"/>
                <a:gd name="T26" fmla="*/ 11 w 11"/>
                <a:gd name="T27" fmla="*/ 45 h 51"/>
                <a:gd name="T28" fmla="*/ 11 w 11"/>
                <a:gd name="T29" fmla="*/ 5 h 51"/>
                <a:gd name="T30" fmla="*/ 11 w 11"/>
                <a:gd name="T31" fmla="*/ 5 h 51"/>
                <a:gd name="T32" fmla="*/ 11 w 11"/>
                <a:gd name="T33" fmla="*/ 4 h 51"/>
                <a:gd name="T34" fmla="*/ 9 w 11"/>
                <a:gd name="T35" fmla="*/ 2 h 51"/>
                <a:gd name="T36" fmla="*/ 5 w 11"/>
                <a:gd name="T37" fmla="*/ 0 h 51"/>
                <a:gd name="T38" fmla="*/ 5 w 11"/>
                <a:gd name="T3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51">
                  <a:moveTo>
                    <a:pt x="5" y="0"/>
                  </a:moveTo>
                  <a:lnTo>
                    <a:pt x="5" y="0"/>
                  </a:lnTo>
                  <a:lnTo>
                    <a:pt x="1" y="2"/>
                  </a:lnTo>
                  <a:lnTo>
                    <a:pt x="1" y="4"/>
                  </a:lnTo>
                  <a:lnTo>
                    <a:pt x="0" y="5"/>
                  </a:lnTo>
                  <a:lnTo>
                    <a:pt x="0" y="45"/>
                  </a:lnTo>
                  <a:lnTo>
                    <a:pt x="0" y="45"/>
                  </a:lnTo>
                  <a:lnTo>
                    <a:pt x="1" y="48"/>
                  </a:lnTo>
                  <a:lnTo>
                    <a:pt x="1" y="49"/>
                  </a:lnTo>
                  <a:lnTo>
                    <a:pt x="5" y="51"/>
                  </a:lnTo>
                  <a:lnTo>
                    <a:pt x="5" y="51"/>
                  </a:lnTo>
                  <a:lnTo>
                    <a:pt x="9" y="49"/>
                  </a:lnTo>
                  <a:lnTo>
                    <a:pt x="11" y="48"/>
                  </a:lnTo>
                  <a:lnTo>
                    <a:pt x="11" y="45"/>
                  </a:lnTo>
                  <a:lnTo>
                    <a:pt x="11" y="5"/>
                  </a:lnTo>
                  <a:lnTo>
                    <a:pt x="11" y="5"/>
                  </a:lnTo>
                  <a:lnTo>
                    <a:pt x="11" y="4"/>
                  </a:lnTo>
                  <a:lnTo>
                    <a:pt x="9" y="2"/>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83"/>
            <p:cNvSpPr>
              <a:spLocks/>
            </p:cNvSpPr>
            <p:nvPr/>
          </p:nvSpPr>
          <p:spPr bwMode="auto">
            <a:xfrm>
              <a:off x="10483851" y="1984375"/>
              <a:ext cx="7938" cy="47625"/>
            </a:xfrm>
            <a:custGeom>
              <a:avLst/>
              <a:gdLst>
                <a:gd name="T0" fmla="*/ 5 w 11"/>
                <a:gd name="T1" fmla="*/ 0 h 61"/>
                <a:gd name="T2" fmla="*/ 5 w 11"/>
                <a:gd name="T3" fmla="*/ 0 h 61"/>
                <a:gd name="T4" fmla="*/ 1 w 11"/>
                <a:gd name="T5" fmla="*/ 2 h 61"/>
                <a:gd name="T6" fmla="*/ 1 w 11"/>
                <a:gd name="T7" fmla="*/ 3 h 61"/>
                <a:gd name="T8" fmla="*/ 0 w 11"/>
                <a:gd name="T9" fmla="*/ 4 h 61"/>
                <a:gd name="T10" fmla="*/ 0 w 11"/>
                <a:gd name="T11" fmla="*/ 55 h 61"/>
                <a:gd name="T12" fmla="*/ 0 w 11"/>
                <a:gd name="T13" fmla="*/ 55 h 61"/>
                <a:gd name="T14" fmla="*/ 1 w 11"/>
                <a:gd name="T15" fmla="*/ 57 h 61"/>
                <a:gd name="T16" fmla="*/ 1 w 11"/>
                <a:gd name="T17" fmla="*/ 59 h 61"/>
                <a:gd name="T18" fmla="*/ 5 w 11"/>
                <a:gd name="T19" fmla="*/ 61 h 61"/>
                <a:gd name="T20" fmla="*/ 5 w 11"/>
                <a:gd name="T21" fmla="*/ 61 h 61"/>
                <a:gd name="T22" fmla="*/ 9 w 11"/>
                <a:gd name="T23" fmla="*/ 59 h 61"/>
                <a:gd name="T24" fmla="*/ 11 w 11"/>
                <a:gd name="T25" fmla="*/ 57 h 61"/>
                <a:gd name="T26" fmla="*/ 11 w 11"/>
                <a:gd name="T27" fmla="*/ 55 h 61"/>
                <a:gd name="T28" fmla="*/ 11 w 11"/>
                <a:gd name="T29" fmla="*/ 4 h 61"/>
                <a:gd name="T30" fmla="*/ 11 w 11"/>
                <a:gd name="T31" fmla="*/ 4 h 61"/>
                <a:gd name="T32" fmla="*/ 11 w 11"/>
                <a:gd name="T33" fmla="*/ 3 h 61"/>
                <a:gd name="T34" fmla="*/ 9 w 11"/>
                <a:gd name="T35" fmla="*/ 2 h 61"/>
                <a:gd name="T36" fmla="*/ 5 w 11"/>
                <a:gd name="T37" fmla="*/ 0 h 61"/>
                <a:gd name="T38" fmla="*/ 5 w 11"/>
                <a:gd name="T3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61">
                  <a:moveTo>
                    <a:pt x="5" y="0"/>
                  </a:moveTo>
                  <a:lnTo>
                    <a:pt x="5" y="0"/>
                  </a:lnTo>
                  <a:lnTo>
                    <a:pt x="1" y="2"/>
                  </a:lnTo>
                  <a:lnTo>
                    <a:pt x="1" y="3"/>
                  </a:lnTo>
                  <a:lnTo>
                    <a:pt x="0" y="4"/>
                  </a:lnTo>
                  <a:lnTo>
                    <a:pt x="0" y="55"/>
                  </a:lnTo>
                  <a:lnTo>
                    <a:pt x="0" y="55"/>
                  </a:lnTo>
                  <a:lnTo>
                    <a:pt x="1" y="57"/>
                  </a:lnTo>
                  <a:lnTo>
                    <a:pt x="1" y="59"/>
                  </a:lnTo>
                  <a:lnTo>
                    <a:pt x="5" y="61"/>
                  </a:lnTo>
                  <a:lnTo>
                    <a:pt x="5" y="61"/>
                  </a:lnTo>
                  <a:lnTo>
                    <a:pt x="9" y="59"/>
                  </a:lnTo>
                  <a:lnTo>
                    <a:pt x="11" y="57"/>
                  </a:lnTo>
                  <a:lnTo>
                    <a:pt x="11" y="55"/>
                  </a:lnTo>
                  <a:lnTo>
                    <a:pt x="11" y="4"/>
                  </a:lnTo>
                  <a:lnTo>
                    <a:pt x="11" y="4"/>
                  </a:lnTo>
                  <a:lnTo>
                    <a:pt x="11" y="3"/>
                  </a:lnTo>
                  <a:lnTo>
                    <a:pt x="9" y="2"/>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84"/>
            <p:cNvSpPr>
              <a:spLocks/>
            </p:cNvSpPr>
            <p:nvPr/>
          </p:nvSpPr>
          <p:spPr bwMode="auto">
            <a:xfrm>
              <a:off x="10483851" y="1868488"/>
              <a:ext cx="7938" cy="31750"/>
            </a:xfrm>
            <a:custGeom>
              <a:avLst/>
              <a:gdLst>
                <a:gd name="T0" fmla="*/ 5 w 11"/>
                <a:gd name="T1" fmla="*/ 0 h 40"/>
                <a:gd name="T2" fmla="*/ 5 w 11"/>
                <a:gd name="T3" fmla="*/ 0 h 40"/>
                <a:gd name="T4" fmla="*/ 1 w 11"/>
                <a:gd name="T5" fmla="*/ 1 h 40"/>
                <a:gd name="T6" fmla="*/ 1 w 11"/>
                <a:gd name="T7" fmla="*/ 3 h 40"/>
                <a:gd name="T8" fmla="*/ 0 w 11"/>
                <a:gd name="T9" fmla="*/ 5 h 40"/>
                <a:gd name="T10" fmla="*/ 0 w 11"/>
                <a:gd name="T11" fmla="*/ 35 h 40"/>
                <a:gd name="T12" fmla="*/ 0 w 11"/>
                <a:gd name="T13" fmla="*/ 35 h 40"/>
                <a:gd name="T14" fmla="*/ 1 w 11"/>
                <a:gd name="T15" fmla="*/ 38 h 40"/>
                <a:gd name="T16" fmla="*/ 1 w 11"/>
                <a:gd name="T17" fmla="*/ 39 h 40"/>
                <a:gd name="T18" fmla="*/ 5 w 11"/>
                <a:gd name="T19" fmla="*/ 40 h 40"/>
                <a:gd name="T20" fmla="*/ 5 w 11"/>
                <a:gd name="T21" fmla="*/ 40 h 40"/>
                <a:gd name="T22" fmla="*/ 9 w 11"/>
                <a:gd name="T23" fmla="*/ 39 h 40"/>
                <a:gd name="T24" fmla="*/ 11 w 11"/>
                <a:gd name="T25" fmla="*/ 38 h 40"/>
                <a:gd name="T26" fmla="*/ 11 w 11"/>
                <a:gd name="T27" fmla="*/ 35 h 40"/>
                <a:gd name="T28" fmla="*/ 11 w 11"/>
                <a:gd name="T29" fmla="*/ 5 h 40"/>
                <a:gd name="T30" fmla="*/ 11 w 11"/>
                <a:gd name="T31" fmla="*/ 5 h 40"/>
                <a:gd name="T32" fmla="*/ 11 w 11"/>
                <a:gd name="T33" fmla="*/ 3 h 40"/>
                <a:gd name="T34" fmla="*/ 9 w 11"/>
                <a:gd name="T35" fmla="*/ 1 h 40"/>
                <a:gd name="T36" fmla="*/ 5 w 11"/>
                <a:gd name="T37" fmla="*/ 0 h 40"/>
                <a:gd name="T38" fmla="*/ 5 w 11"/>
                <a:gd name="T3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40">
                  <a:moveTo>
                    <a:pt x="5" y="0"/>
                  </a:moveTo>
                  <a:lnTo>
                    <a:pt x="5" y="0"/>
                  </a:lnTo>
                  <a:lnTo>
                    <a:pt x="1" y="1"/>
                  </a:lnTo>
                  <a:lnTo>
                    <a:pt x="1" y="3"/>
                  </a:lnTo>
                  <a:lnTo>
                    <a:pt x="0" y="5"/>
                  </a:lnTo>
                  <a:lnTo>
                    <a:pt x="0" y="35"/>
                  </a:lnTo>
                  <a:lnTo>
                    <a:pt x="0" y="35"/>
                  </a:lnTo>
                  <a:lnTo>
                    <a:pt x="1" y="38"/>
                  </a:lnTo>
                  <a:lnTo>
                    <a:pt x="1" y="39"/>
                  </a:lnTo>
                  <a:lnTo>
                    <a:pt x="5" y="40"/>
                  </a:lnTo>
                  <a:lnTo>
                    <a:pt x="5" y="40"/>
                  </a:lnTo>
                  <a:lnTo>
                    <a:pt x="9" y="39"/>
                  </a:lnTo>
                  <a:lnTo>
                    <a:pt x="11" y="38"/>
                  </a:lnTo>
                  <a:lnTo>
                    <a:pt x="11" y="35"/>
                  </a:lnTo>
                  <a:lnTo>
                    <a:pt x="11" y="5"/>
                  </a:lnTo>
                  <a:lnTo>
                    <a:pt x="11" y="5"/>
                  </a:lnTo>
                  <a:lnTo>
                    <a:pt x="11" y="3"/>
                  </a:lnTo>
                  <a:lnTo>
                    <a:pt x="9" y="1"/>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85"/>
            <p:cNvSpPr>
              <a:spLocks/>
            </p:cNvSpPr>
            <p:nvPr/>
          </p:nvSpPr>
          <p:spPr bwMode="auto">
            <a:xfrm>
              <a:off x="10331451" y="1838325"/>
              <a:ext cx="312738" cy="206375"/>
            </a:xfrm>
            <a:custGeom>
              <a:avLst/>
              <a:gdLst>
                <a:gd name="T0" fmla="*/ 395 w 395"/>
                <a:gd name="T1" fmla="*/ 21 h 259"/>
                <a:gd name="T2" fmla="*/ 395 w 395"/>
                <a:gd name="T3" fmla="*/ 21 h 259"/>
                <a:gd name="T4" fmla="*/ 384 w 395"/>
                <a:gd name="T5" fmla="*/ 0 h 259"/>
                <a:gd name="T6" fmla="*/ 12 w 395"/>
                <a:gd name="T7" fmla="*/ 0 h 259"/>
                <a:gd name="T8" fmla="*/ 12 w 395"/>
                <a:gd name="T9" fmla="*/ 0 h 259"/>
                <a:gd name="T10" fmla="*/ 0 w 395"/>
                <a:gd name="T11" fmla="*/ 21 h 259"/>
                <a:gd name="T12" fmla="*/ 121 w 395"/>
                <a:gd name="T13" fmla="*/ 21 h 259"/>
                <a:gd name="T14" fmla="*/ 24 w 395"/>
                <a:gd name="T15" fmla="*/ 240 h 259"/>
                <a:gd name="T16" fmla="*/ 24 w 395"/>
                <a:gd name="T17" fmla="*/ 240 h 259"/>
                <a:gd name="T18" fmla="*/ 40 w 395"/>
                <a:gd name="T19" fmla="*/ 259 h 259"/>
                <a:gd name="T20" fmla="*/ 144 w 395"/>
                <a:gd name="T21" fmla="*/ 21 h 259"/>
                <a:gd name="T22" fmla="*/ 251 w 395"/>
                <a:gd name="T23" fmla="*/ 21 h 259"/>
                <a:gd name="T24" fmla="*/ 356 w 395"/>
                <a:gd name="T25" fmla="*/ 259 h 259"/>
                <a:gd name="T26" fmla="*/ 356 w 395"/>
                <a:gd name="T27" fmla="*/ 259 h 259"/>
                <a:gd name="T28" fmla="*/ 371 w 395"/>
                <a:gd name="T29" fmla="*/ 240 h 259"/>
                <a:gd name="T30" fmla="*/ 274 w 395"/>
                <a:gd name="T31" fmla="*/ 21 h 259"/>
                <a:gd name="T32" fmla="*/ 395 w 395"/>
                <a:gd name="T33" fmla="*/ 2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59">
                  <a:moveTo>
                    <a:pt x="395" y="21"/>
                  </a:moveTo>
                  <a:lnTo>
                    <a:pt x="395" y="21"/>
                  </a:lnTo>
                  <a:lnTo>
                    <a:pt x="384" y="0"/>
                  </a:lnTo>
                  <a:lnTo>
                    <a:pt x="12" y="0"/>
                  </a:lnTo>
                  <a:lnTo>
                    <a:pt x="12" y="0"/>
                  </a:lnTo>
                  <a:lnTo>
                    <a:pt x="0" y="21"/>
                  </a:lnTo>
                  <a:lnTo>
                    <a:pt x="121" y="21"/>
                  </a:lnTo>
                  <a:lnTo>
                    <a:pt x="24" y="240"/>
                  </a:lnTo>
                  <a:lnTo>
                    <a:pt x="24" y="240"/>
                  </a:lnTo>
                  <a:lnTo>
                    <a:pt x="40" y="259"/>
                  </a:lnTo>
                  <a:lnTo>
                    <a:pt x="144" y="21"/>
                  </a:lnTo>
                  <a:lnTo>
                    <a:pt x="251" y="21"/>
                  </a:lnTo>
                  <a:lnTo>
                    <a:pt x="356" y="259"/>
                  </a:lnTo>
                  <a:lnTo>
                    <a:pt x="356" y="259"/>
                  </a:lnTo>
                  <a:lnTo>
                    <a:pt x="371" y="240"/>
                  </a:lnTo>
                  <a:lnTo>
                    <a:pt x="274" y="21"/>
                  </a:lnTo>
                  <a:lnTo>
                    <a:pt x="395"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3" name="Group 404"/>
          <p:cNvGrpSpPr>
            <a:grpSpLocks noChangeAspect="1"/>
          </p:cNvGrpSpPr>
          <p:nvPr/>
        </p:nvGrpSpPr>
        <p:grpSpPr>
          <a:xfrm>
            <a:off x="8213559" y="3054695"/>
            <a:ext cx="379572" cy="377377"/>
            <a:chOff x="3317876" y="2632710"/>
            <a:chExt cx="274638" cy="273050"/>
          </a:xfrm>
          <a:solidFill>
            <a:schemeClr val="tx1"/>
          </a:solidFill>
        </p:grpSpPr>
        <p:sp>
          <p:nvSpPr>
            <p:cNvPr id="44" name="Freeform 132"/>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33"/>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34"/>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35"/>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36"/>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37"/>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0" name="Tijdelijke aanduiding voor voettekst 49"/>
          <p:cNvSpPr>
            <a:spLocks noGrp="1"/>
          </p:cNvSpPr>
          <p:nvPr>
            <p:ph type="ftr" sz="quarter" idx="15"/>
          </p:nvPr>
        </p:nvSpPr>
        <p:spPr/>
        <p:txBody>
          <a:bodyPr/>
          <a:lstStyle/>
          <a:p>
            <a:r>
              <a:rPr lang="nl-NL"/>
              <a:t>Behoefte functionele migratie SMZ</a:t>
            </a:r>
            <a:endParaRPr lang="en-GB" dirty="0"/>
          </a:p>
        </p:txBody>
      </p:sp>
      <p:sp>
        <p:nvSpPr>
          <p:cNvPr id="51" name="Tijdelijke aanduiding voor dianummer 50"/>
          <p:cNvSpPr>
            <a:spLocks noGrp="1"/>
          </p:cNvSpPr>
          <p:nvPr>
            <p:ph type="sldNum" sz="quarter" idx="16"/>
          </p:nvPr>
        </p:nvSpPr>
        <p:spPr/>
        <p:txBody>
          <a:bodyPr/>
          <a:lstStyle/>
          <a:p>
            <a:fld id="{EEC0F82C-4994-47DA-8D9B-99D78D224F6D}" type="slidenum">
              <a:rPr lang="en-GB" smtClean="0"/>
              <a:pPr/>
              <a:t>3</a:t>
            </a:fld>
            <a:endParaRPr lang="en-GB" dirty="0"/>
          </a:p>
        </p:txBody>
      </p:sp>
    </p:spTree>
    <p:extLst>
      <p:ext uri="{BB962C8B-B14F-4D97-AF65-F5344CB8AC3E}">
        <p14:creationId xmlns:p14="http://schemas.microsoft.com/office/powerpoint/2010/main" val="4495782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el 4"/>
          <p:cNvSpPr txBox="1">
            <a:spLocks/>
          </p:cNvSpPr>
          <p:nvPr/>
        </p:nvSpPr>
        <p:spPr bwMode="gray">
          <a:xfrm>
            <a:off x="571500" y="542166"/>
            <a:ext cx="11049000" cy="981834"/>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400" b="1" kern="1200">
                <a:solidFill>
                  <a:schemeClr val="tx2"/>
                </a:solidFill>
                <a:latin typeface="+mj-lt"/>
                <a:ea typeface="+mj-ea"/>
                <a:cs typeface="+mj-cs"/>
              </a:defRPr>
            </a:lvl1pPr>
          </a:lstStyle>
          <a:p>
            <a:pPr lvl="0">
              <a:defRPr/>
            </a:pPr>
            <a:r>
              <a:rPr lang="nl-NL" dirty="0">
                <a:solidFill>
                  <a:srgbClr val="003282"/>
                </a:solidFill>
              </a:rPr>
              <a:t>SMZ wil flexibiliteit in de omgang met wijzigingen vanuit de bron én de businessbehoefte én een beperkte time-</a:t>
            </a:r>
            <a:r>
              <a:rPr lang="nl-NL" dirty="0" err="1">
                <a:solidFill>
                  <a:srgbClr val="003282"/>
                </a:solidFill>
              </a:rPr>
              <a:t>to</a:t>
            </a:r>
            <a:r>
              <a:rPr lang="nl-NL" dirty="0">
                <a:solidFill>
                  <a:srgbClr val="003282"/>
                </a:solidFill>
              </a:rPr>
              <a:t>-market*</a:t>
            </a:r>
            <a:endParaRPr kumimoji="0" lang="nl-NL" sz="2400" b="1" i="0" u="none" strike="noStrike" kern="1200" cap="none" spc="0" normalizeH="0" baseline="0" noProof="0" dirty="0">
              <a:ln>
                <a:noFill/>
              </a:ln>
              <a:solidFill>
                <a:srgbClr val="003282"/>
              </a:solidFill>
              <a:effectLst/>
              <a:uLnTx/>
              <a:uFillTx/>
              <a:latin typeface="Verdana"/>
              <a:ea typeface="+mj-ea"/>
              <a:cs typeface="+mj-cs"/>
            </a:endParaRPr>
          </a:p>
        </p:txBody>
      </p:sp>
      <p:sp>
        <p:nvSpPr>
          <p:cNvPr id="31" name="Rechthoek 30"/>
          <p:cNvSpPr/>
          <p:nvPr/>
        </p:nvSpPr>
        <p:spPr>
          <a:xfrm>
            <a:off x="571499" y="288447"/>
            <a:ext cx="7200000" cy="19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all" spc="0" normalizeH="0" baseline="0" noProof="0" dirty="0">
                <a:ln>
                  <a:noFill/>
                </a:ln>
                <a:solidFill>
                  <a:srgbClr val="FFFFFF">
                    <a:lumMod val="85000"/>
                  </a:srgbClr>
                </a:solidFill>
                <a:effectLst/>
                <a:uLnTx/>
                <a:uFillTx/>
                <a:latin typeface="Verdana"/>
                <a:ea typeface="+mn-ea"/>
                <a:cs typeface="+mn-cs"/>
              </a:rPr>
              <a:t>Tactische behoefte (1/3)</a:t>
            </a:r>
          </a:p>
        </p:txBody>
      </p:sp>
      <p:sp>
        <p:nvSpPr>
          <p:cNvPr id="50" name="Rechthoek 49"/>
          <p:cNvSpPr/>
          <p:nvPr/>
        </p:nvSpPr>
        <p:spPr>
          <a:xfrm>
            <a:off x="1509204" y="1642867"/>
            <a:ext cx="10682796" cy="27630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Ovaal 50"/>
          <p:cNvSpPr/>
          <p:nvPr/>
        </p:nvSpPr>
        <p:spPr>
          <a:xfrm>
            <a:off x="923279" y="1642867"/>
            <a:ext cx="1065321" cy="276307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hthoek 51"/>
          <p:cNvSpPr/>
          <p:nvPr/>
        </p:nvSpPr>
        <p:spPr>
          <a:xfrm>
            <a:off x="1849639" y="1713887"/>
            <a:ext cx="9770861" cy="2462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400"/>
              </a:spcBef>
            </a:pPr>
            <a:r>
              <a:rPr lang="nl-NL" sz="1200" b="1" dirty="0">
                <a:solidFill>
                  <a:schemeClr val="tx1"/>
                </a:solidFill>
              </a:rPr>
              <a:t>Flexibiliteit</a:t>
            </a:r>
          </a:p>
          <a:p>
            <a:pPr marL="171450" indent="-171450">
              <a:spcBef>
                <a:spcPts val="400"/>
              </a:spcBef>
              <a:buFont typeface="Arial" panose="020B0604020202020204" pitchFamily="34" charset="0"/>
              <a:buChar char="•"/>
            </a:pPr>
            <a:r>
              <a:rPr lang="nl-NL" sz="1200" dirty="0">
                <a:solidFill>
                  <a:schemeClr val="tx1"/>
                </a:solidFill>
              </a:rPr>
              <a:t>Flexibiliteit bij wijziging van bronnen/bronleveringen</a:t>
            </a:r>
          </a:p>
          <a:p>
            <a:pPr marL="452438" lvl="1" indent="-271463">
              <a:spcBef>
                <a:spcPts val="400"/>
              </a:spcBef>
              <a:buFont typeface="Courier New" panose="02070309020205020404" pitchFamily="49" charset="0"/>
              <a:buChar char="o"/>
            </a:pPr>
            <a:r>
              <a:rPr lang="nl-NL" sz="1200" dirty="0">
                <a:solidFill>
                  <a:schemeClr val="tx1"/>
                </a:solidFill>
              </a:rPr>
              <a:t>Ontsluiten nieuwe bron parallel aan het uitrollen van die bron in de business</a:t>
            </a:r>
          </a:p>
          <a:p>
            <a:pPr marL="452438" lvl="1" indent="-271463">
              <a:spcBef>
                <a:spcPts val="400"/>
              </a:spcBef>
              <a:buFont typeface="Courier New" panose="02070309020205020404" pitchFamily="49" charset="0"/>
              <a:buChar char="o"/>
            </a:pPr>
            <a:r>
              <a:rPr lang="nl-NL" sz="1200" dirty="0">
                <a:solidFill>
                  <a:schemeClr val="tx1"/>
                </a:solidFill>
              </a:rPr>
              <a:t>Wijziging in de gegevenslevering binnen twee weken ontsluiten</a:t>
            </a:r>
          </a:p>
          <a:p>
            <a:pPr marL="171450" indent="-171450">
              <a:spcBef>
                <a:spcPts val="400"/>
              </a:spcBef>
              <a:buFont typeface="Arial" panose="020B0604020202020204" pitchFamily="34" charset="0"/>
              <a:buChar char="•"/>
            </a:pPr>
            <a:r>
              <a:rPr lang="nl-NL" sz="1200" dirty="0">
                <a:solidFill>
                  <a:schemeClr val="tx1"/>
                </a:solidFill>
              </a:rPr>
              <a:t>Flexibiliteit en snelheid (time-</a:t>
            </a:r>
            <a:r>
              <a:rPr lang="nl-NL" sz="1200" dirty="0" err="1">
                <a:solidFill>
                  <a:schemeClr val="tx1"/>
                </a:solidFill>
              </a:rPr>
              <a:t>to</a:t>
            </a:r>
            <a:r>
              <a:rPr lang="nl-NL" sz="1200" dirty="0">
                <a:solidFill>
                  <a:schemeClr val="tx1"/>
                </a:solidFill>
              </a:rPr>
              <a:t>-market) in de aanpassing van verschillende lagen van het DIM door een wijziging van behoefte. Bij gewenste wijzigingen van </a:t>
            </a:r>
            <a:r>
              <a:rPr lang="nl-NL" sz="1200" dirty="0" err="1">
                <a:solidFill>
                  <a:schemeClr val="tx1"/>
                </a:solidFill>
              </a:rPr>
              <a:t>datamarts</a:t>
            </a:r>
            <a:r>
              <a:rPr lang="nl-NL" sz="1200" dirty="0">
                <a:solidFill>
                  <a:schemeClr val="tx1"/>
                </a:solidFill>
              </a:rPr>
              <a:t> moet dit binnen twee weken ingebouwd kunnen worden:</a:t>
            </a:r>
          </a:p>
          <a:p>
            <a:pPr marL="452438" lvl="1" indent="-271463">
              <a:spcBef>
                <a:spcPts val="400"/>
              </a:spcBef>
              <a:buFont typeface="Courier New" panose="02070309020205020404" pitchFamily="49" charset="0"/>
              <a:buChar char="o"/>
            </a:pPr>
            <a:r>
              <a:rPr lang="nl-NL" sz="1200" i="1" dirty="0">
                <a:solidFill>
                  <a:schemeClr val="tx1"/>
                </a:solidFill>
              </a:rPr>
              <a:t>Daarmee is het dusdanig gemodelleerd dat een wijziging zoveel mogelijk op 1 plek aangepast dient te worden en niet meervoudig of relationeel is</a:t>
            </a:r>
          </a:p>
          <a:p>
            <a:pPr marL="452438" lvl="1" indent="-271463">
              <a:spcBef>
                <a:spcPts val="400"/>
              </a:spcBef>
              <a:buFont typeface="Courier New" panose="02070309020205020404" pitchFamily="49" charset="0"/>
              <a:buChar char="o"/>
            </a:pPr>
            <a:r>
              <a:rPr lang="nl-NL" sz="1200" i="1" dirty="0">
                <a:solidFill>
                  <a:schemeClr val="tx1"/>
                </a:solidFill>
              </a:rPr>
              <a:t>Daarmee invoeren CI-CD (</a:t>
            </a:r>
            <a:r>
              <a:rPr lang="nl-NL" sz="1200" i="1" dirty="0" err="1">
                <a:solidFill>
                  <a:schemeClr val="tx1"/>
                </a:solidFill>
              </a:rPr>
              <a:t>continuous</a:t>
            </a:r>
            <a:r>
              <a:rPr lang="nl-NL" sz="1200" i="1" dirty="0">
                <a:solidFill>
                  <a:schemeClr val="tx1"/>
                </a:solidFill>
              </a:rPr>
              <a:t> </a:t>
            </a:r>
            <a:r>
              <a:rPr lang="nl-NL" sz="1200" i="1" dirty="0" err="1">
                <a:solidFill>
                  <a:schemeClr val="tx1"/>
                </a:solidFill>
              </a:rPr>
              <a:t>integration</a:t>
            </a:r>
            <a:r>
              <a:rPr lang="nl-NL" sz="1200" i="1" dirty="0">
                <a:solidFill>
                  <a:schemeClr val="tx1"/>
                </a:solidFill>
              </a:rPr>
              <a:t> / </a:t>
            </a:r>
            <a:r>
              <a:rPr lang="nl-NL" sz="1200" i="1" dirty="0" err="1">
                <a:solidFill>
                  <a:schemeClr val="tx1"/>
                </a:solidFill>
              </a:rPr>
              <a:t>continuous</a:t>
            </a:r>
            <a:r>
              <a:rPr lang="nl-NL" sz="1200" i="1" dirty="0">
                <a:solidFill>
                  <a:schemeClr val="tx1"/>
                </a:solidFill>
              </a:rPr>
              <a:t> delivery/</a:t>
            </a:r>
            <a:r>
              <a:rPr lang="nl-NL" sz="1200" i="1" dirty="0" err="1">
                <a:solidFill>
                  <a:schemeClr val="tx1"/>
                </a:solidFill>
              </a:rPr>
              <a:t>deployment</a:t>
            </a:r>
            <a:r>
              <a:rPr lang="nl-NL" sz="1200" i="1" dirty="0">
                <a:solidFill>
                  <a:schemeClr val="tx1"/>
                </a:solidFill>
              </a:rPr>
              <a:t>) (Regelmatig kleine stukjes </a:t>
            </a:r>
            <a:r>
              <a:rPr lang="nl-NL" sz="1200" i="1" dirty="0" err="1">
                <a:solidFill>
                  <a:schemeClr val="tx1"/>
                </a:solidFill>
              </a:rPr>
              <a:t>deployen</a:t>
            </a:r>
            <a:r>
              <a:rPr lang="nl-NL" sz="1200" i="1" dirty="0">
                <a:solidFill>
                  <a:schemeClr val="tx1"/>
                </a:solidFill>
              </a:rPr>
              <a:t> in plaats van grote onderdelen om fouten te voorkomen en wachttijd te verkorten)</a:t>
            </a:r>
          </a:p>
          <a:p>
            <a:pPr marL="452438" lvl="1" indent="-271463">
              <a:spcBef>
                <a:spcPts val="400"/>
              </a:spcBef>
              <a:buFont typeface="Courier New" panose="02070309020205020404" pitchFamily="49" charset="0"/>
              <a:buChar char="o"/>
            </a:pPr>
            <a:r>
              <a:rPr lang="nl-NL" sz="1200" i="1" dirty="0">
                <a:solidFill>
                  <a:schemeClr val="tx1"/>
                </a:solidFill>
              </a:rPr>
              <a:t>Daarmee geen handmatige releases (eist veel handwerk, is foutgevoel en kost tijd</a:t>
            </a:r>
          </a:p>
          <a:p>
            <a:pPr marL="452438" lvl="1" indent="-271463">
              <a:spcBef>
                <a:spcPts val="400"/>
              </a:spcBef>
              <a:buFont typeface="Courier New" panose="02070309020205020404" pitchFamily="49" charset="0"/>
              <a:buChar char="o"/>
            </a:pPr>
            <a:r>
              <a:rPr lang="nl-NL" sz="1200" i="1" dirty="0">
                <a:solidFill>
                  <a:schemeClr val="tx1"/>
                </a:solidFill>
              </a:rPr>
              <a:t>Daarmee niet handmatig inkloppen van code in verband met weerslag op snelheid en foutgevoeligheid</a:t>
            </a:r>
          </a:p>
          <a:p>
            <a:pPr marL="171450" indent="-171450">
              <a:spcBef>
                <a:spcPts val="400"/>
              </a:spcBef>
              <a:buFont typeface="Arial" panose="020B0604020202020204" pitchFamily="34" charset="0"/>
              <a:buChar char="•"/>
            </a:pPr>
            <a:endParaRPr lang="nl-NL" sz="1200" i="1" dirty="0">
              <a:solidFill>
                <a:schemeClr val="tx1"/>
              </a:solidFill>
            </a:endParaRPr>
          </a:p>
        </p:txBody>
      </p:sp>
      <p:sp>
        <p:nvSpPr>
          <p:cNvPr id="2" name="Rechthoek 1"/>
          <p:cNvSpPr/>
          <p:nvPr/>
        </p:nvSpPr>
        <p:spPr>
          <a:xfrm>
            <a:off x="923279" y="6111351"/>
            <a:ext cx="6817591" cy="250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90488"/>
            <a:r>
              <a:rPr lang="nl-NL" sz="900" dirty="0">
                <a:solidFill>
                  <a:schemeClr val="tx1"/>
                </a:solidFill>
              </a:rPr>
              <a:t>* Cursieve teksten zijn wensen voor de “hoe” gebaseerd op knelpunten, en daarmee ontwikkelpunten, in de huidige wereld. In onze optiek eventuele invullingen voor de geformuleerde behoefte erboven. </a:t>
            </a:r>
          </a:p>
        </p:txBody>
      </p:sp>
      <p:grpSp>
        <p:nvGrpSpPr>
          <p:cNvPr id="71" name="Group 433"/>
          <p:cNvGrpSpPr>
            <a:grpSpLocks noChangeAspect="1"/>
          </p:cNvGrpSpPr>
          <p:nvPr/>
        </p:nvGrpSpPr>
        <p:grpSpPr>
          <a:xfrm>
            <a:off x="1156003" y="2640357"/>
            <a:ext cx="538412" cy="538412"/>
            <a:chOff x="5978526" y="4312285"/>
            <a:chExt cx="246063" cy="246063"/>
          </a:xfrm>
        </p:grpSpPr>
        <p:sp>
          <p:nvSpPr>
            <p:cNvPr id="72" name="Freeform 213"/>
            <p:cNvSpPr>
              <a:spLocks/>
            </p:cNvSpPr>
            <p:nvPr/>
          </p:nvSpPr>
          <p:spPr bwMode="auto">
            <a:xfrm>
              <a:off x="5978526" y="4312285"/>
              <a:ext cx="103188" cy="103188"/>
            </a:xfrm>
            <a:custGeom>
              <a:avLst/>
              <a:gdLst>
                <a:gd name="T0" fmla="*/ 40 w 131"/>
                <a:gd name="T1" fmla="*/ 85 h 130"/>
                <a:gd name="T2" fmla="*/ 40 w 131"/>
                <a:gd name="T3" fmla="*/ 85 h 130"/>
                <a:gd name="T4" fmla="*/ 45 w 131"/>
                <a:gd name="T5" fmla="*/ 87 h 130"/>
                <a:gd name="T6" fmla="*/ 66 w 131"/>
                <a:gd name="T7" fmla="*/ 87 h 130"/>
                <a:gd name="T8" fmla="*/ 108 w 131"/>
                <a:gd name="T9" fmla="*/ 130 h 130"/>
                <a:gd name="T10" fmla="*/ 131 w 131"/>
                <a:gd name="T11" fmla="*/ 111 h 130"/>
                <a:gd name="T12" fmla="*/ 86 w 131"/>
                <a:gd name="T13" fmla="*/ 66 h 130"/>
                <a:gd name="T14" fmla="*/ 86 w 131"/>
                <a:gd name="T15" fmla="*/ 45 h 130"/>
                <a:gd name="T16" fmla="*/ 86 w 131"/>
                <a:gd name="T17" fmla="*/ 45 h 130"/>
                <a:gd name="T18" fmla="*/ 85 w 131"/>
                <a:gd name="T19" fmla="*/ 41 h 130"/>
                <a:gd name="T20" fmla="*/ 46 w 131"/>
                <a:gd name="T21" fmla="*/ 3 h 130"/>
                <a:gd name="T22" fmla="*/ 46 w 131"/>
                <a:gd name="T23" fmla="*/ 3 h 130"/>
                <a:gd name="T24" fmla="*/ 45 w 131"/>
                <a:gd name="T25" fmla="*/ 2 h 130"/>
                <a:gd name="T26" fmla="*/ 42 w 131"/>
                <a:gd name="T27" fmla="*/ 0 h 130"/>
                <a:gd name="T28" fmla="*/ 40 w 131"/>
                <a:gd name="T29" fmla="*/ 2 h 130"/>
                <a:gd name="T30" fmla="*/ 39 w 131"/>
                <a:gd name="T31" fmla="*/ 3 h 130"/>
                <a:gd name="T32" fmla="*/ 2 w 131"/>
                <a:gd name="T33" fmla="*/ 39 h 130"/>
                <a:gd name="T34" fmla="*/ 2 w 131"/>
                <a:gd name="T35" fmla="*/ 39 h 130"/>
                <a:gd name="T36" fmla="*/ 2 w 131"/>
                <a:gd name="T37" fmla="*/ 41 h 130"/>
                <a:gd name="T38" fmla="*/ 0 w 131"/>
                <a:gd name="T39" fmla="*/ 43 h 130"/>
                <a:gd name="T40" fmla="*/ 2 w 131"/>
                <a:gd name="T41" fmla="*/ 45 h 130"/>
                <a:gd name="T42" fmla="*/ 2 w 131"/>
                <a:gd name="T43" fmla="*/ 46 h 130"/>
                <a:gd name="T44" fmla="*/ 40 w 131"/>
                <a:gd name="T45" fmla="*/ 8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1" h="130">
                  <a:moveTo>
                    <a:pt x="40" y="85"/>
                  </a:moveTo>
                  <a:lnTo>
                    <a:pt x="40" y="85"/>
                  </a:lnTo>
                  <a:lnTo>
                    <a:pt x="45" y="87"/>
                  </a:lnTo>
                  <a:lnTo>
                    <a:pt x="66" y="87"/>
                  </a:lnTo>
                  <a:lnTo>
                    <a:pt x="108" y="130"/>
                  </a:lnTo>
                  <a:lnTo>
                    <a:pt x="131" y="111"/>
                  </a:lnTo>
                  <a:lnTo>
                    <a:pt x="86" y="66"/>
                  </a:lnTo>
                  <a:lnTo>
                    <a:pt x="86" y="45"/>
                  </a:lnTo>
                  <a:lnTo>
                    <a:pt x="86" y="45"/>
                  </a:lnTo>
                  <a:lnTo>
                    <a:pt x="85" y="41"/>
                  </a:lnTo>
                  <a:lnTo>
                    <a:pt x="46" y="3"/>
                  </a:lnTo>
                  <a:lnTo>
                    <a:pt x="46" y="3"/>
                  </a:lnTo>
                  <a:lnTo>
                    <a:pt x="45" y="2"/>
                  </a:lnTo>
                  <a:lnTo>
                    <a:pt x="42" y="0"/>
                  </a:lnTo>
                  <a:lnTo>
                    <a:pt x="40" y="2"/>
                  </a:lnTo>
                  <a:lnTo>
                    <a:pt x="39" y="3"/>
                  </a:lnTo>
                  <a:lnTo>
                    <a:pt x="2" y="39"/>
                  </a:lnTo>
                  <a:lnTo>
                    <a:pt x="2" y="39"/>
                  </a:lnTo>
                  <a:lnTo>
                    <a:pt x="2" y="41"/>
                  </a:lnTo>
                  <a:lnTo>
                    <a:pt x="0" y="43"/>
                  </a:lnTo>
                  <a:lnTo>
                    <a:pt x="2" y="45"/>
                  </a:lnTo>
                  <a:lnTo>
                    <a:pt x="2" y="46"/>
                  </a:lnTo>
                  <a:lnTo>
                    <a:pt x="40"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14"/>
            <p:cNvSpPr>
              <a:spLocks noEditPoints="1"/>
            </p:cNvSpPr>
            <p:nvPr/>
          </p:nvSpPr>
          <p:spPr bwMode="auto">
            <a:xfrm>
              <a:off x="6108701" y="4439285"/>
              <a:ext cx="115888" cy="119063"/>
            </a:xfrm>
            <a:custGeom>
              <a:avLst/>
              <a:gdLst>
                <a:gd name="T0" fmla="*/ 57 w 147"/>
                <a:gd name="T1" fmla="*/ 0 h 152"/>
                <a:gd name="T2" fmla="*/ 0 w 147"/>
                <a:gd name="T3" fmla="*/ 69 h 152"/>
                <a:gd name="T4" fmla="*/ 73 w 147"/>
                <a:gd name="T5" fmla="*/ 140 h 152"/>
                <a:gd name="T6" fmla="*/ 73 w 147"/>
                <a:gd name="T7" fmla="*/ 140 h 152"/>
                <a:gd name="T8" fmla="*/ 79 w 147"/>
                <a:gd name="T9" fmla="*/ 145 h 152"/>
                <a:gd name="T10" fmla="*/ 86 w 147"/>
                <a:gd name="T11" fmla="*/ 149 h 152"/>
                <a:gd name="T12" fmla="*/ 94 w 147"/>
                <a:gd name="T13" fmla="*/ 152 h 152"/>
                <a:gd name="T14" fmla="*/ 104 w 147"/>
                <a:gd name="T15" fmla="*/ 152 h 152"/>
                <a:gd name="T16" fmla="*/ 112 w 147"/>
                <a:gd name="T17" fmla="*/ 152 h 152"/>
                <a:gd name="T18" fmla="*/ 120 w 147"/>
                <a:gd name="T19" fmla="*/ 149 h 152"/>
                <a:gd name="T20" fmla="*/ 128 w 147"/>
                <a:gd name="T21" fmla="*/ 145 h 152"/>
                <a:gd name="T22" fmla="*/ 135 w 147"/>
                <a:gd name="T23" fmla="*/ 140 h 152"/>
                <a:gd name="T24" fmla="*/ 135 w 147"/>
                <a:gd name="T25" fmla="*/ 140 h 152"/>
                <a:gd name="T26" fmla="*/ 140 w 147"/>
                <a:gd name="T27" fmla="*/ 133 h 152"/>
                <a:gd name="T28" fmla="*/ 144 w 147"/>
                <a:gd name="T29" fmla="*/ 125 h 152"/>
                <a:gd name="T30" fmla="*/ 147 w 147"/>
                <a:gd name="T31" fmla="*/ 117 h 152"/>
                <a:gd name="T32" fmla="*/ 147 w 147"/>
                <a:gd name="T33" fmla="*/ 109 h 152"/>
                <a:gd name="T34" fmla="*/ 147 w 147"/>
                <a:gd name="T35" fmla="*/ 101 h 152"/>
                <a:gd name="T36" fmla="*/ 144 w 147"/>
                <a:gd name="T37" fmla="*/ 91 h 152"/>
                <a:gd name="T38" fmla="*/ 140 w 147"/>
                <a:gd name="T39" fmla="*/ 85 h 152"/>
                <a:gd name="T40" fmla="*/ 135 w 147"/>
                <a:gd name="T41" fmla="*/ 78 h 152"/>
                <a:gd name="T42" fmla="*/ 57 w 147"/>
                <a:gd name="T43" fmla="*/ 0 h 152"/>
                <a:gd name="T44" fmla="*/ 100 w 147"/>
                <a:gd name="T45" fmla="*/ 105 h 152"/>
                <a:gd name="T46" fmla="*/ 100 w 147"/>
                <a:gd name="T47" fmla="*/ 105 h 152"/>
                <a:gd name="T48" fmla="*/ 97 w 147"/>
                <a:gd name="T49" fmla="*/ 106 h 152"/>
                <a:gd name="T50" fmla="*/ 96 w 147"/>
                <a:gd name="T51" fmla="*/ 106 h 152"/>
                <a:gd name="T52" fmla="*/ 96 w 147"/>
                <a:gd name="T53" fmla="*/ 106 h 152"/>
                <a:gd name="T54" fmla="*/ 93 w 147"/>
                <a:gd name="T55" fmla="*/ 106 h 152"/>
                <a:gd name="T56" fmla="*/ 92 w 147"/>
                <a:gd name="T57" fmla="*/ 105 h 152"/>
                <a:gd name="T58" fmla="*/ 50 w 147"/>
                <a:gd name="T59" fmla="*/ 63 h 152"/>
                <a:gd name="T60" fmla="*/ 50 w 147"/>
                <a:gd name="T61" fmla="*/ 63 h 152"/>
                <a:gd name="T62" fmla="*/ 49 w 147"/>
                <a:gd name="T63" fmla="*/ 62 h 152"/>
                <a:gd name="T64" fmla="*/ 49 w 147"/>
                <a:gd name="T65" fmla="*/ 59 h 152"/>
                <a:gd name="T66" fmla="*/ 49 w 147"/>
                <a:gd name="T67" fmla="*/ 58 h 152"/>
                <a:gd name="T68" fmla="*/ 50 w 147"/>
                <a:gd name="T69" fmla="*/ 55 h 152"/>
                <a:gd name="T70" fmla="*/ 50 w 147"/>
                <a:gd name="T71" fmla="*/ 55 h 152"/>
                <a:gd name="T72" fmla="*/ 53 w 147"/>
                <a:gd name="T73" fmla="*/ 55 h 152"/>
                <a:gd name="T74" fmla="*/ 54 w 147"/>
                <a:gd name="T75" fmla="*/ 54 h 152"/>
                <a:gd name="T76" fmla="*/ 55 w 147"/>
                <a:gd name="T77" fmla="*/ 55 h 152"/>
                <a:gd name="T78" fmla="*/ 58 w 147"/>
                <a:gd name="T79" fmla="*/ 55 h 152"/>
                <a:gd name="T80" fmla="*/ 100 w 147"/>
                <a:gd name="T81" fmla="*/ 97 h 152"/>
                <a:gd name="T82" fmla="*/ 100 w 147"/>
                <a:gd name="T83" fmla="*/ 97 h 152"/>
                <a:gd name="T84" fmla="*/ 100 w 147"/>
                <a:gd name="T85" fmla="*/ 100 h 152"/>
                <a:gd name="T86" fmla="*/ 101 w 147"/>
                <a:gd name="T87" fmla="*/ 101 h 152"/>
                <a:gd name="T88" fmla="*/ 100 w 147"/>
                <a:gd name="T89" fmla="*/ 102 h 152"/>
                <a:gd name="T90" fmla="*/ 100 w 147"/>
                <a:gd name="T91" fmla="*/ 105 h 152"/>
                <a:gd name="T92" fmla="*/ 100 w 147"/>
                <a:gd name="T93" fmla="*/ 10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152">
                  <a:moveTo>
                    <a:pt x="57" y="0"/>
                  </a:moveTo>
                  <a:lnTo>
                    <a:pt x="0" y="69"/>
                  </a:lnTo>
                  <a:lnTo>
                    <a:pt x="73" y="140"/>
                  </a:lnTo>
                  <a:lnTo>
                    <a:pt x="73" y="140"/>
                  </a:lnTo>
                  <a:lnTo>
                    <a:pt x="79" y="145"/>
                  </a:lnTo>
                  <a:lnTo>
                    <a:pt x="86" y="149"/>
                  </a:lnTo>
                  <a:lnTo>
                    <a:pt x="94" y="152"/>
                  </a:lnTo>
                  <a:lnTo>
                    <a:pt x="104" y="152"/>
                  </a:lnTo>
                  <a:lnTo>
                    <a:pt x="112" y="152"/>
                  </a:lnTo>
                  <a:lnTo>
                    <a:pt x="120" y="149"/>
                  </a:lnTo>
                  <a:lnTo>
                    <a:pt x="128" y="145"/>
                  </a:lnTo>
                  <a:lnTo>
                    <a:pt x="135" y="140"/>
                  </a:lnTo>
                  <a:lnTo>
                    <a:pt x="135" y="140"/>
                  </a:lnTo>
                  <a:lnTo>
                    <a:pt x="140" y="133"/>
                  </a:lnTo>
                  <a:lnTo>
                    <a:pt x="144" y="125"/>
                  </a:lnTo>
                  <a:lnTo>
                    <a:pt x="147" y="117"/>
                  </a:lnTo>
                  <a:lnTo>
                    <a:pt x="147" y="109"/>
                  </a:lnTo>
                  <a:lnTo>
                    <a:pt x="147" y="101"/>
                  </a:lnTo>
                  <a:lnTo>
                    <a:pt x="144" y="91"/>
                  </a:lnTo>
                  <a:lnTo>
                    <a:pt x="140" y="85"/>
                  </a:lnTo>
                  <a:lnTo>
                    <a:pt x="135" y="78"/>
                  </a:lnTo>
                  <a:lnTo>
                    <a:pt x="57" y="0"/>
                  </a:lnTo>
                  <a:close/>
                  <a:moveTo>
                    <a:pt x="100" y="105"/>
                  </a:moveTo>
                  <a:lnTo>
                    <a:pt x="100" y="105"/>
                  </a:lnTo>
                  <a:lnTo>
                    <a:pt x="97" y="106"/>
                  </a:lnTo>
                  <a:lnTo>
                    <a:pt x="96" y="106"/>
                  </a:lnTo>
                  <a:lnTo>
                    <a:pt x="96" y="106"/>
                  </a:lnTo>
                  <a:lnTo>
                    <a:pt x="93" y="106"/>
                  </a:lnTo>
                  <a:lnTo>
                    <a:pt x="92" y="105"/>
                  </a:lnTo>
                  <a:lnTo>
                    <a:pt x="50" y="63"/>
                  </a:lnTo>
                  <a:lnTo>
                    <a:pt x="50" y="63"/>
                  </a:lnTo>
                  <a:lnTo>
                    <a:pt x="49" y="62"/>
                  </a:lnTo>
                  <a:lnTo>
                    <a:pt x="49" y="59"/>
                  </a:lnTo>
                  <a:lnTo>
                    <a:pt x="49" y="58"/>
                  </a:lnTo>
                  <a:lnTo>
                    <a:pt x="50" y="55"/>
                  </a:lnTo>
                  <a:lnTo>
                    <a:pt x="50" y="55"/>
                  </a:lnTo>
                  <a:lnTo>
                    <a:pt x="53" y="55"/>
                  </a:lnTo>
                  <a:lnTo>
                    <a:pt x="54" y="54"/>
                  </a:lnTo>
                  <a:lnTo>
                    <a:pt x="55" y="55"/>
                  </a:lnTo>
                  <a:lnTo>
                    <a:pt x="58" y="55"/>
                  </a:lnTo>
                  <a:lnTo>
                    <a:pt x="100" y="97"/>
                  </a:lnTo>
                  <a:lnTo>
                    <a:pt x="100" y="97"/>
                  </a:lnTo>
                  <a:lnTo>
                    <a:pt x="100" y="100"/>
                  </a:lnTo>
                  <a:lnTo>
                    <a:pt x="101" y="101"/>
                  </a:lnTo>
                  <a:lnTo>
                    <a:pt x="100" y="102"/>
                  </a:lnTo>
                  <a:lnTo>
                    <a:pt x="100" y="105"/>
                  </a:lnTo>
                  <a:lnTo>
                    <a:pt x="100" y="1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15"/>
            <p:cNvSpPr>
              <a:spLocks noEditPoints="1"/>
            </p:cNvSpPr>
            <p:nvPr/>
          </p:nvSpPr>
          <p:spPr bwMode="auto">
            <a:xfrm>
              <a:off x="5978526" y="4312285"/>
              <a:ext cx="246063" cy="246063"/>
            </a:xfrm>
            <a:custGeom>
              <a:avLst/>
              <a:gdLst>
                <a:gd name="T0" fmla="*/ 270 w 311"/>
                <a:gd name="T1" fmla="*/ 84 h 311"/>
                <a:gd name="T2" fmla="*/ 269 w 311"/>
                <a:gd name="T3" fmla="*/ 85 h 311"/>
                <a:gd name="T4" fmla="*/ 265 w 311"/>
                <a:gd name="T5" fmla="*/ 85 h 311"/>
                <a:gd name="T6" fmla="*/ 227 w 311"/>
                <a:gd name="T7" fmla="*/ 49 h 311"/>
                <a:gd name="T8" fmla="*/ 227 w 311"/>
                <a:gd name="T9" fmla="*/ 48 h 311"/>
                <a:gd name="T10" fmla="*/ 227 w 311"/>
                <a:gd name="T11" fmla="*/ 43 h 311"/>
                <a:gd name="T12" fmla="*/ 264 w 311"/>
                <a:gd name="T13" fmla="*/ 6 h 311"/>
                <a:gd name="T14" fmla="*/ 251 w 311"/>
                <a:gd name="T15" fmla="*/ 2 h 311"/>
                <a:gd name="T16" fmla="*/ 238 w 311"/>
                <a:gd name="T17" fmla="*/ 0 h 311"/>
                <a:gd name="T18" fmla="*/ 210 w 311"/>
                <a:gd name="T19" fmla="*/ 7 h 311"/>
                <a:gd name="T20" fmla="*/ 187 w 311"/>
                <a:gd name="T21" fmla="*/ 22 h 311"/>
                <a:gd name="T22" fmla="*/ 172 w 311"/>
                <a:gd name="T23" fmla="*/ 45 h 311"/>
                <a:gd name="T24" fmla="*/ 165 w 311"/>
                <a:gd name="T25" fmla="*/ 73 h 311"/>
                <a:gd name="T26" fmla="*/ 167 w 311"/>
                <a:gd name="T27" fmla="*/ 84 h 311"/>
                <a:gd name="T28" fmla="*/ 22 w 311"/>
                <a:gd name="T29" fmla="*/ 212 h 311"/>
                <a:gd name="T30" fmla="*/ 14 w 311"/>
                <a:gd name="T31" fmla="*/ 220 h 311"/>
                <a:gd name="T32" fmla="*/ 3 w 311"/>
                <a:gd name="T33" fmla="*/ 240 h 311"/>
                <a:gd name="T34" fmla="*/ 2 w 311"/>
                <a:gd name="T35" fmla="*/ 263 h 311"/>
                <a:gd name="T36" fmla="*/ 8 w 311"/>
                <a:gd name="T37" fmla="*/ 283 h 311"/>
                <a:gd name="T38" fmla="*/ 15 w 311"/>
                <a:gd name="T39" fmla="*/ 293 h 311"/>
                <a:gd name="T40" fmla="*/ 24 w 311"/>
                <a:gd name="T41" fmla="*/ 302 h 311"/>
                <a:gd name="T42" fmla="*/ 46 w 311"/>
                <a:gd name="T43" fmla="*/ 311 h 311"/>
                <a:gd name="T44" fmla="*/ 69 w 311"/>
                <a:gd name="T45" fmla="*/ 310 h 311"/>
                <a:gd name="T46" fmla="*/ 90 w 311"/>
                <a:gd name="T47" fmla="*/ 300 h 311"/>
                <a:gd name="T48" fmla="*/ 219 w 311"/>
                <a:gd name="T49" fmla="*/ 143 h 311"/>
                <a:gd name="T50" fmla="*/ 229 w 311"/>
                <a:gd name="T51" fmla="*/ 146 h 311"/>
                <a:gd name="T52" fmla="*/ 238 w 311"/>
                <a:gd name="T53" fmla="*/ 146 h 311"/>
                <a:gd name="T54" fmla="*/ 266 w 311"/>
                <a:gd name="T55" fmla="*/ 140 h 311"/>
                <a:gd name="T56" fmla="*/ 289 w 311"/>
                <a:gd name="T57" fmla="*/ 124 h 311"/>
                <a:gd name="T58" fmla="*/ 305 w 311"/>
                <a:gd name="T59" fmla="*/ 101 h 311"/>
                <a:gd name="T60" fmla="*/ 311 w 311"/>
                <a:gd name="T61" fmla="*/ 73 h 311"/>
                <a:gd name="T62" fmla="*/ 309 w 311"/>
                <a:gd name="T63" fmla="*/ 61 h 311"/>
                <a:gd name="T64" fmla="*/ 307 w 311"/>
                <a:gd name="T65" fmla="*/ 49 h 311"/>
                <a:gd name="T66" fmla="*/ 62 w 311"/>
                <a:gd name="T67" fmla="*/ 265 h 311"/>
                <a:gd name="T68" fmla="*/ 51 w 311"/>
                <a:gd name="T69" fmla="*/ 260 h 311"/>
                <a:gd name="T70" fmla="*/ 47 w 311"/>
                <a:gd name="T71" fmla="*/ 249 h 311"/>
                <a:gd name="T72" fmla="*/ 49 w 311"/>
                <a:gd name="T73" fmla="*/ 244 h 311"/>
                <a:gd name="T74" fmla="*/ 57 w 311"/>
                <a:gd name="T75" fmla="*/ 236 h 311"/>
                <a:gd name="T76" fmla="*/ 62 w 311"/>
                <a:gd name="T77" fmla="*/ 234 h 311"/>
                <a:gd name="T78" fmla="*/ 74 w 311"/>
                <a:gd name="T79" fmla="*/ 238 h 311"/>
                <a:gd name="T80" fmla="*/ 78 w 311"/>
                <a:gd name="T81" fmla="*/ 249 h 311"/>
                <a:gd name="T82" fmla="*/ 77 w 311"/>
                <a:gd name="T83" fmla="*/ 256 h 311"/>
                <a:gd name="T84" fmla="*/ 69 w 311"/>
                <a:gd name="T85" fmla="*/ 264 h 311"/>
                <a:gd name="T86" fmla="*/ 62 w 311"/>
                <a:gd name="T87" fmla="*/ 26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1" h="311">
                  <a:moveTo>
                    <a:pt x="307" y="49"/>
                  </a:moveTo>
                  <a:lnTo>
                    <a:pt x="270" y="84"/>
                  </a:lnTo>
                  <a:lnTo>
                    <a:pt x="270" y="84"/>
                  </a:lnTo>
                  <a:lnTo>
                    <a:pt x="269" y="85"/>
                  </a:lnTo>
                  <a:lnTo>
                    <a:pt x="268" y="85"/>
                  </a:lnTo>
                  <a:lnTo>
                    <a:pt x="265" y="85"/>
                  </a:lnTo>
                  <a:lnTo>
                    <a:pt x="264" y="84"/>
                  </a:lnTo>
                  <a:lnTo>
                    <a:pt x="227" y="49"/>
                  </a:lnTo>
                  <a:lnTo>
                    <a:pt x="227" y="49"/>
                  </a:lnTo>
                  <a:lnTo>
                    <a:pt x="227" y="48"/>
                  </a:lnTo>
                  <a:lnTo>
                    <a:pt x="226" y="45"/>
                  </a:lnTo>
                  <a:lnTo>
                    <a:pt x="227" y="43"/>
                  </a:lnTo>
                  <a:lnTo>
                    <a:pt x="227" y="41"/>
                  </a:lnTo>
                  <a:lnTo>
                    <a:pt x="264" y="6"/>
                  </a:lnTo>
                  <a:lnTo>
                    <a:pt x="264" y="6"/>
                  </a:lnTo>
                  <a:lnTo>
                    <a:pt x="251" y="2"/>
                  </a:lnTo>
                  <a:lnTo>
                    <a:pt x="238" y="0"/>
                  </a:lnTo>
                  <a:lnTo>
                    <a:pt x="238" y="0"/>
                  </a:lnTo>
                  <a:lnTo>
                    <a:pt x="225" y="3"/>
                  </a:lnTo>
                  <a:lnTo>
                    <a:pt x="210" y="7"/>
                  </a:lnTo>
                  <a:lnTo>
                    <a:pt x="198" y="14"/>
                  </a:lnTo>
                  <a:lnTo>
                    <a:pt x="187" y="22"/>
                  </a:lnTo>
                  <a:lnTo>
                    <a:pt x="179" y="33"/>
                  </a:lnTo>
                  <a:lnTo>
                    <a:pt x="172" y="45"/>
                  </a:lnTo>
                  <a:lnTo>
                    <a:pt x="168" y="58"/>
                  </a:lnTo>
                  <a:lnTo>
                    <a:pt x="165" y="73"/>
                  </a:lnTo>
                  <a:lnTo>
                    <a:pt x="165" y="73"/>
                  </a:lnTo>
                  <a:lnTo>
                    <a:pt x="167" y="84"/>
                  </a:lnTo>
                  <a:lnTo>
                    <a:pt x="170" y="93"/>
                  </a:lnTo>
                  <a:lnTo>
                    <a:pt x="22" y="212"/>
                  </a:lnTo>
                  <a:lnTo>
                    <a:pt x="22" y="212"/>
                  </a:lnTo>
                  <a:lnTo>
                    <a:pt x="14" y="220"/>
                  </a:lnTo>
                  <a:lnTo>
                    <a:pt x="7" y="229"/>
                  </a:lnTo>
                  <a:lnTo>
                    <a:pt x="3" y="240"/>
                  </a:lnTo>
                  <a:lnTo>
                    <a:pt x="0" y="250"/>
                  </a:lnTo>
                  <a:lnTo>
                    <a:pt x="2" y="263"/>
                  </a:lnTo>
                  <a:lnTo>
                    <a:pt x="3" y="273"/>
                  </a:lnTo>
                  <a:lnTo>
                    <a:pt x="8" y="283"/>
                  </a:lnTo>
                  <a:lnTo>
                    <a:pt x="15" y="293"/>
                  </a:lnTo>
                  <a:lnTo>
                    <a:pt x="15" y="293"/>
                  </a:lnTo>
                  <a:lnTo>
                    <a:pt x="15" y="293"/>
                  </a:lnTo>
                  <a:lnTo>
                    <a:pt x="24" y="302"/>
                  </a:lnTo>
                  <a:lnTo>
                    <a:pt x="34" y="307"/>
                  </a:lnTo>
                  <a:lnTo>
                    <a:pt x="46" y="311"/>
                  </a:lnTo>
                  <a:lnTo>
                    <a:pt x="57" y="311"/>
                  </a:lnTo>
                  <a:lnTo>
                    <a:pt x="69" y="310"/>
                  </a:lnTo>
                  <a:lnTo>
                    <a:pt x="79" y="307"/>
                  </a:lnTo>
                  <a:lnTo>
                    <a:pt x="90" y="300"/>
                  </a:lnTo>
                  <a:lnTo>
                    <a:pt x="100" y="291"/>
                  </a:lnTo>
                  <a:lnTo>
                    <a:pt x="219" y="143"/>
                  </a:lnTo>
                  <a:lnTo>
                    <a:pt x="219" y="143"/>
                  </a:lnTo>
                  <a:lnTo>
                    <a:pt x="229" y="146"/>
                  </a:lnTo>
                  <a:lnTo>
                    <a:pt x="238" y="146"/>
                  </a:lnTo>
                  <a:lnTo>
                    <a:pt x="238" y="146"/>
                  </a:lnTo>
                  <a:lnTo>
                    <a:pt x="253" y="144"/>
                  </a:lnTo>
                  <a:lnTo>
                    <a:pt x="266" y="140"/>
                  </a:lnTo>
                  <a:lnTo>
                    <a:pt x="280" y="134"/>
                  </a:lnTo>
                  <a:lnTo>
                    <a:pt x="289" y="124"/>
                  </a:lnTo>
                  <a:lnTo>
                    <a:pt x="299" y="115"/>
                  </a:lnTo>
                  <a:lnTo>
                    <a:pt x="305" y="101"/>
                  </a:lnTo>
                  <a:lnTo>
                    <a:pt x="309" y="88"/>
                  </a:lnTo>
                  <a:lnTo>
                    <a:pt x="311" y="73"/>
                  </a:lnTo>
                  <a:lnTo>
                    <a:pt x="311" y="73"/>
                  </a:lnTo>
                  <a:lnTo>
                    <a:pt x="309" y="61"/>
                  </a:lnTo>
                  <a:lnTo>
                    <a:pt x="307" y="49"/>
                  </a:lnTo>
                  <a:lnTo>
                    <a:pt x="307" y="49"/>
                  </a:lnTo>
                  <a:close/>
                  <a:moveTo>
                    <a:pt x="62" y="265"/>
                  </a:moveTo>
                  <a:lnTo>
                    <a:pt x="62" y="265"/>
                  </a:lnTo>
                  <a:lnTo>
                    <a:pt x="57" y="264"/>
                  </a:lnTo>
                  <a:lnTo>
                    <a:pt x="51" y="260"/>
                  </a:lnTo>
                  <a:lnTo>
                    <a:pt x="49" y="256"/>
                  </a:lnTo>
                  <a:lnTo>
                    <a:pt x="47" y="249"/>
                  </a:lnTo>
                  <a:lnTo>
                    <a:pt x="47" y="249"/>
                  </a:lnTo>
                  <a:lnTo>
                    <a:pt x="49" y="244"/>
                  </a:lnTo>
                  <a:lnTo>
                    <a:pt x="51" y="238"/>
                  </a:lnTo>
                  <a:lnTo>
                    <a:pt x="57" y="236"/>
                  </a:lnTo>
                  <a:lnTo>
                    <a:pt x="62" y="234"/>
                  </a:lnTo>
                  <a:lnTo>
                    <a:pt x="62" y="234"/>
                  </a:lnTo>
                  <a:lnTo>
                    <a:pt x="69" y="236"/>
                  </a:lnTo>
                  <a:lnTo>
                    <a:pt x="74" y="238"/>
                  </a:lnTo>
                  <a:lnTo>
                    <a:pt x="77" y="244"/>
                  </a:lnTo>
                  <a:lnTo>
                    <a:pt x="78" y="249"/>
                  </a:lnTo>
                  <a:lnTo>
                    <a:pt x="78" y="249"/>
                  </a:lnTo>
                  <a:lnTo>
                    <a:pt x="77" y="256"/>
                  </a:lnTo>
                  <a:lnTo>
                    <a:pt x="74" y="260"/>
                  </a:lnTo>
                  <a:lnTo>
                    <a:pt x="69" y="264"/>
                  </a:lnTo>
                  <a:lnTo>
                    <a:pt x="62" y="265"/>
                  </a:lnTo>
                  <a:lnTo>
                    <a:pt x="62" y="2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 name="Groep 2"/>
          <p:cNvGrpSpPr/>
          <p:nvPr/>
        </p:nvGrpSpPr>
        <p:grpSpPr>
          <a:xfrm>
            <a:off x="923279" y="4518799"/>
            <a:ext cx="11268721" cy="1410943"/>
            <a:chOff x="923279" y="4295125"/>
            <a:chExt cx="11268721" cy="1569965"/>
          </a:xfrm>
        </p:grpSpPr>
        <p:sp>
          <p:nvSpPr>
            <p:cNvPr id="65" name="Rechthoek 64"/>
            <p:cNvSpPr/>
            <p:nvPr/>
          </p:nvSpPr>
          <p:spPr>
            <a:xfrm>
              <a:off x="1509204" y="4295125"/>
              <a:ext cx="10682796" cy="15699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6" name="Ovaal 65"/>
            <p:cNvSpPr/>
            <p:nvPr/>
          </p:nvSpPr>
          <p:spPr>
            <a:xfrm>
              <a:off x="923279" y="4295125"/>
              <a:ext cx="1065321" cy="156996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7" name="Rechthoek 66"/>
            <p:cNvSpPr/>
            <p:nvPr/>
          </p:nvSpPr>
          <p:spPr>
            <a:xfrm>
              <a:off x="1849639" y="4320886"/>
              <a:ext cx="9770861" cy="10386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400"/>
                </a:spcBef>
              </a:pPr>
              <a:r>
                <a:rPr lang="nl-NL" sz="1200" b="1" dirty="0">
                  <a:solidFill>
                    <a:schemeClr val="tx1"/>
                  </a:solidFill>
                </a:rPr>
                <a:t>Snelheid   </a:t>
              </a:r>
            </a:p>
            <a:p>
              <a:pPr marL="171450" indent="-171450">
                <a:spcBef>
                  <a:spcPts val="400"/>
                </a:spcBef>
                <a:buFont typeface="Arial" panose="020B0604020202020204" pitchFamily="34" charset="0"/>
                <a:buChar char="•"/>
              </a:pPr>
              <a:r>
                <a:rPr lang="nl-NL" sz="1200" dirty="0">
                  <a:solidFill>
                    <a:schemeClr val="tx1"/>
                  </a:solidFill>
                </a:rPr>
                <a:t>Bij wijzigingen dient het dusdanig flexibel te zijn dat de wijzigingen snel kan worden doorgevoerd, zie behoefte bij flexibiliteit</a:t>
              </a:r>
            </a:p>
            <a:p>
              <a:pPr marL="171450" indent="-171450">
                <a:spcBef>
                  <a:spcPts val="400"/>
                </a:spcBef>
                <a:buFont typeface="Arial" panose="020B0604020202020204" pitchFamily="34" charset="0"/>
                <a:buChar char="•"/>
              </a:pPr>
              <a:r>
                <a:rPr lang="nl-NL" sz="1200" dirty="0">
                  <a:solidFill>
                    <a:schemeClr val="tx1"/>
                  </a:solidFill>
                </a:rPr>
                <a:t>Actuele gegevens direct beschikbaar (maandag 6:00 uur)</a:t>
              </a:r>
            </a:p>
            <a:p>
              <a:pPr marL="452438" lvl="1" indent="-271463">
                <a:spcBef>
                  <a:spcPts val="400"/>
                </a:spcBef>
                <a:buFont typeface="Courier New" panose="02070309020205020404" pitchFamily="49" charset="0"/>
                <a:buChar char="o"/>
              </a:pPr>
              <a:r>
                <a:rPr lang="nl-NL" sz="1200" i="1" dirty="0">
                  <a:solidFill>
                    <a:schemeClr val="tx1"/>
                  </a:solidFill>
                </a:rPr>
                <a:t>Daarmee zijn de gegevens niet afhankelijk van het laden van andere gegevens</a:t>
              </a:r>
            </a:p>
            <a:p>
              <a:pPr marL="452438" lvl="1" indent="-271463">
                <a:spcBef>
                  <a:spcPts val="400"/>
                </a:spcBef>
                <a:buFont typeface="Courier New" panose="02070309020205020404" pitchFamily="49" charset="0"/>
                <a:buChar char="o"/>
              </a:pPr>
              <a:r>
                <a:rPr lang="nl-NL" sz="1200" i="1" dirty="0">
                  <a:solidFill>
                    <a:schemeClr val="tx1"/>
                  </a:solidFill>
                </a:rPr>
                <a:t>Daarmee is het laadproces zoveel mogelijk geautomatiseerd</a:t>
              </a:r>
            </a:p>
            <a:p>
              <a:pPr marL="171450" indent="-171450">
                <a:spcBef>
                  <a:spcPts val="400"/>
                </a:spcBef>
                <a:buFont typeface="Arial" panose="020B0604020202020204" pitchFamily="34" charset="0"/>
                <a:buChar char="•"/>
              </a:pPr>
              <a:endParaRPr lang="nl-NL" sz="1200" dirty="0">
                <a:solidFill>
                  <a:schemeClr val="tx1"/>
                </a:solidFill>
              </a:endParaRPr>
            </a:p>
          </p:txBody>
        </p:sp>
        <p:grpSp>
          <p:nvGrpSpPr>
            <p:cNvPr id="75" name="Group 308"/>
            <p:cNvGrpSpPr/>
            <p:nvPr/>
          </p:nvGrpSpPr>
          <p:grpSpPr>
            <a:xfrm>
              <a:off x="1165761" y="4793729"/>
              <a:ext cx="518897" cy="572756"/>
              <a:chOff x="698501" y="935038"/>
              <a:chExt cx="244475" cy="298450"/>
            </a:xfrm>
          </p:grpSpPr>
          <p:sp>
            <p:nvSpPr>
              <p:cNvPr id="76" name="Freeform 157"/>
              <p:cNvSpPr>
                <a:spLocks/>
              </p:cNvSpPr>
              <p:nvPr/>
            </p:nvSpPr>
            <p:spPr bwMode="auto">
              <a:xfrm>
                <a:off x="777876" y="935038"/>
                <a:ext cx="85725" cy="38100"/>
              </a:xfrm>
              <a:custGeom>
                <a:avLst/>
                <a:gdLst>
                  <a:gd name="T0" fmla="*/ 5 w 108"/>
                  <a:gd name="T1" fmla="*/ 24 h 48"/>
                  <a:gd name="T2" fmla="*/ 42 w 108"/>
                  <a:gd name="T3" fmla="*/ 24 h 48"/>
                  <a:gd name="T4" fmla="*/ 42 w 108"/>
                  <a:gd name="T5" fmla="*/ 48 h 48"/>
                  <a:gd name="T6" fmla="*/ 66 w 108"/>
                  <a:gd name="T7" fmla="*/ 48 h 48"/>
                  <a:gd name="T8" fmla="*/ 66 w 108"/>
                  <a:gd name="T9" fmla="*/ 24 h 48"/>
                  <a:gd name="T10" fmla="*/ 102 w 108"/>
                  <a:gd name="T11" fmla="*/ 24 h 48"/>
                  <a:gd name="T12" fmla="*/ 102 w 108"/>
                  <a:gd name="T13" fmla="*/ 24 h 48"/>
                  <a:gd name="T14" fmla="*/ 105 w 108"/>
                  <a:gd name="T15" fmla="*/ 23 h 48"/>
                  <a:gd name="T16" fmla="*/ 106 w 108"/>
                  <a:gd name="T17" fmla="*/ 22 h 48"/>
                  <a:gd name="T18" fmla="*/ 108 w 108"/>
                  <a:gd name="T19" fmla="*/ 20 h 48"/>
                  <a:gd name="T20" fmla="*/ 108 w 108"/>
                  <a:gd name="T21" fmla="*/ 18 h 48"/>
                  <a:gd name="T22" fmla="*/ 108 w 108"/>
                  <a:gd name="T23" fmla="*/ 5 h 48"/>
                  <a:gd name="T24" fmla="*/ 108 w 108"/>
                  <a:gd name="T25" fmla="*/ 5 h 48"/>
                  <a:gd name="T26" fmla="*/ 108 w 108"/>
                  <a:gd name="T27" fmla="*/ 3 h 48"/>
                  <a:gd name="T28" fmla="*/ 106 w 108"/>
                  <a:gd name="T29" fmla="*/ 1 h 48"/>
                  <a:gd name="T30" fmla="*/ 105 w 108"/>
                  <a:gd name="T31" fmla="*/ 0 h 48"/>
                  <a:gd name="T32" fmla="*/ 102 w 108"/>
                  <a:gd name="T33" fmla="*/ 0 h 48"/>
                  <a:gd name="T34" fmla="*/ 5 w 108"/>
                  <a:gd name="T35" fmla="*/ 0 h 48"/>
                  <a:gd name="T36" fmla="*/ 5 w 108"/>
                  <a:gd name="T37" fmla="*/ 0 h 48"/>
                  <a:gd name="T38" fmla="*/ 3 w 108"/>
                  <a:gd name="T39" fmla="*/ 0 h 48"/>
                  <a:gd name="T40" fmla="*/ 1 w 108"/>
                  <a:gd name="T41" fmla="*/ 1 h 48"/>
                  <a:gd name="T42" fmla="*/ 0 w 108"/>
                  <a:gd name="T43" fmla="*/ 3 h 48"/>
                  <a:gd name="T44" fmla="*/ 0 w 108"/>
                  <a:gd name="T45" fmla="*/ 5 h 48"/>
                  <a:gd name="T46" fmla="*/ 0 w 108"/>
                  <a:gd name="T47" fmla="*/ 18 h 48"/>
                  <a:gd name="T48" fmla="*/ 0 w 108"/>
                  <a:gd name="T49" fmla="*/ 18 h 48"/>
                  <a:gd name="T50" fmla="*/ 0 w 108"/>
                  <a:gd name="T51" fmla="*/ 20 h 48"/>
                  <a:gd name="T52" fmla="*/ 1 w 108"/>
                  <a:gd name="T53" fmla="*/ 22 h 48"/>
                  <a:gd name="T54" fmla="*/ 3 w 108"/>
                  <a:gd name="T55" fmla="*/ 23 h 48"/>
                  <a:gd name="T56" fmla="*/ 5 w 108"/>
                  <a:gd name="T57" fmla="*/ 24 h 48"/>
                  <a:gd name="T58" fmla="*/ 5 w 108"/>
                  <a:gd name="T59"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48">
                    <a:moveTo>
                      <a:pt x="5" y="24"/>
                    </a:moveTo>
                    <a:lnTo>
                      <a:pt x="42" y="24"/>
                    </a:lnTo>
                    <a:lnTo>
                      <a:pt x="42" y="48"/>
                    </a:lnTo>
                    <a:lnTo>
                      <a:pt x="66" y="48"/>
                    </a:lnTo>
                    <a:lnTo>
                      <a:pt x="66" y="24"/>
                    </a:lnTo>
                    <a:lnTo>
                      <a:pt x="102" y="24"/>
                    </a:lnTo>
                    <a:lnTo>
                      <a:pt x="102" y="24"/>
                    </a:lnTo>
                    <a:lnTo>
                      <a:pt x="105" y="23"/>
                    </a:lnTo>
                    <a:lnTo>
                      <a:pt x="106" y="22"/>
                    </a:lnTo>
                    <a:lnTo>
                      <a:pt x="108" y="20"/>
                    </a:lnTo>
                    <a:lnTo>
                      <a:pt x="108" y="18"/>
                    </a:lnTo>
                    <a:lnTo>
                      <a:pt x="108" y="5"/>
                    </a:lnTo>
                    <a:lnTo>
                      <a:pt x="108" y="5"/>
                    </a:lnTo>
                    <a:lnTo>
                      <a:pt x="108" y="3"/>
                    </a:lnTo>
                    <a:lnTo>
                      <a:pt x="106" y="1"/>
                    </a:lnTo>
                    <a:lnTo>
                      <a:pt x="105" y="0"/>
                    </a:lnTo>
                    <a:lnTo>
                      <a:pt x="102" y="0"/>
                    </a:lnTo>
                    <a:lnTo>
                      <a:pt x="5" y="0"/>
                    </a:lnTo>
                    <a:lnTo>
                      <a:pt x="5" y="0"/>
                    </a:lnTo>
                    <a:lnTo>
                      <a:pt x="3" y="0"/>
                    </a:lnTo>
                    <a:lnTo>
                      <a:pt x="1" y="1"/>
                    </a:lnTo>
                    <a:lnTo>
                      <a:pt x="0" y="3"/>
                    </a:lnTo>
                    <a:lnTo>
                      <a:pt x="0" y="5"/>
                    </a:lnTo>
                    <a:lnTo>
                      <a:pt x="0" y="18"/>
                    </a:lnTo>
                    <a:lnTo>
                      <a:pt x="0" y="18"/>
                    </a:lnTo>
                    <a:lnTo>
                      <a:pt x="0" y="20"/>
                    </a:lnTo>
                    <a:lnTo>
                      <a:pt x="1" y="22"/>
                    </a:lnTo>
                    <a:lnTo>
                      <a:pt x="3" y="23"/>
                    </a:lnTo>
                    <a:lnTo>
                      <a:pt x="5" y="24"/>
                    </a:lnTo>
                    <a:lnTo>
                      <a:pt x="5"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158"/>
              <p:cNvSpPr>
                <a:spLocks/>
              </p:cNvSpPr>
              <p:nvPr/>
            </p:nvSpPr>
            <p:spPr bwMode="auto">
              <a:xfrm>
                <a:off x="773113" y="1063625"/>
                <a:ext cx="66675" cy="66675"/>
              </a:xfrm>
              <a:custGeom>
                <a:avLst/>
                <a:gdLst>
                  <a:gd name="T0" fmla="*/ 0 w 83"/>
                  <a:gd name="T1" fmla="*/ 0 h 84"/>
                  <a:gd name="T2" fmla="*/ 0 w 83"/>
                  <a:gd name="T3" fmla="*/ 0 h 84"/>
                  <a:gd name="T4" fmla="*/ 17 w 83"/>
                  <a:gd name="T5" fmla="*/ 35 h 84"/>
                  <a:gd name="T6" fmla="*/ 31 w 83"/>
                  <a:gd name="T7" fmla="*/ 60 h 84"/>
                  <a:gd name="T8" fmla="*/ 37 w 83"/>
                  <a:gd name="T9" fmla="*/ 71 h 84"/>
                  <a:gd name="T10" fmla="*/ 41 w 83"/>
                  <a:gd name="T11" fmla="*/ 76 h 84"/>
                  <a:gd name="T12" fmla="*/ 41 w 83"/>
                  <a:gd name="T13" fmla="*/ 76 h 84"/>
                  <a:gd name="T14" fmla="*/ 45 w 83"/>
                  <a:gd name="T15" fmla="*/ 80 h 84"/>
                  <a:gd name="T16" fmla="*/ 49 w 83"/>
                  <a:gd name="T17" fmla="*/ 82 h 84"/>
                  <a:gd name="T18" fmla="*/ 55 w 83"/>
                  <a:gd name="T19" fmla="*/ 83 h 84"/>
                  <a:gd name="T20" fmla="*/ 59 w 83"/>
                  <a:gd name="T21" fmla="*/ 84 h 84"/>
                  <a:gd name="T22" fmla="*/ 63 w 83"/>
                  <a:gd name="T23" fmla="*/ 83 h 84"/>
                  <a:gd name="T24" fmla="*/ 68 w 83"/>
                  <a:gd name="T25" fmla="*/ 82 h 84"/>
                  <a:gd name="T26" fmla="*/ 72 w 83"/>
                  <a:gd name="T27" fmla="*/ 80 h 84"/>
                  <a:gd name="T28" fmla="*/ 76 w 83"/>
                  <a:gd name="T29" fmla="*/ 76 h 84"/>
                  <a:gd name="T30" fmla="*/ 76 w 83"/>
                  <a:gd name="T31" fmla="*/ 76 h 84"/>
                  <a:gd name="T32" fmla="*/ 79 w 83"/>
                  <a:gd name="T33" fmla="*/ 74 h 84"/>
                  <a:gd name="T34" fmla="*/ 82 w 83"/>
                  <a:gd name="T35" fmla="*/ 68 h 84"/>
                  <a:gd name="T36" fmla="*/ 83 w 83"/>
                  <a:gd name="T37" fmla="*/ 64 h 84"/>
                  <a:gd name="T38" fmla="*/ 83 w 83"/>
                  <a:gd name="T39" fmla="*/ 60 h 84"/>
                  <a:gd name="T40" fmla="*/ 83 w 83"/>
                  <a:gd name="T41" fmla="*/ 55 h 84"/>
                  <a:gd name="T42" fmla="*/ 82 w 83"/>
                  <a:gd name="T43" fmla="*/ 51 h 84"/>
                  <a:gd name="T44" fmla="*/ 79 w 83"/>
                  <a:gd name="T45" fmla="*/ 47 h 84"/>
                  <a:gd name="T46" fmla="*/ 76 w 83"/>
                  <a:gd name="T47" fmla="*/ 43 h 84"/>
                  <a:gd name="T48" fmla="*/ 76 w 83"/>
                  <a:gd name="T49" fmla="*/ 43 h 84"/>
                  <a:gd name="T50" fmla="*/ 70 w 83"/>
                  <a:gd name="T51" fmla="*/ 39 h 84"/>
                  <a:gd name="T52" fmla="*/ 60 w 83"/>
                  <a:gd name="T53" fmla="*/ 32 h 84"/>
                  <a:gd name="T54" fmla="*/ 33 w 83"/>
                  <a:gd name="T55" fmla="*/ 17 h 84"/>
                  <a:gd name="T56" fmla="*/ 0 w 83"/>
                  <a:gd name="T57" fmla="*/ 0 h 84"/>
                  <a:gd name="T58" fmla="*/ 0 w 83"/>
                  <a:gd name="T5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84">
                    <a:moveTo>
                      <a:pt x="0" y="0"/>
                    </a:moveTo>
                    <a:lnTo>
                      <a:pt x="0" y="0"/>
                    </a:lnTo>
                    <a:lnTo>
                      <a:pt x="17" y="35"/>
                    </a:lnTo>
                    <a:lnTo>
                      <a:pt x="31" y="60"/>
                    </a:lnTo>
                    <a:lnTo>
                      <a:pt x="37" y="71"/>
                    </a:lnTo>
                    <a:lnTo>
                      <a:pt x="41" y="76"/>
                    </a:lnTo>
                    <a:lnTo>
                      <a:pt x="41" y="76"/>
                    </a:lnTo>
                    <a:lnTo>
                      <a:pt x="45" y="80"/>
                    </a:lnTo>
                    <a:lnTo>
                      <a:pt x="49" y="82"/>
                    </a:lnTo>
                    <a:lnTo>
                      <a:pt x="55" y="83"/>
                    </a:lnTo>
                    <a:lnTo>
                      <a:pt x="59" y="84"/>
                    </a:lnTo>
                    <a:lnTo>
                      <a:pt x="63" y="83"/>
                    </a:lnTo>
                    <a:lnTo>
                      <a:pt x="68" y="82"/>
                    </a:lnTo>
                    <a:lnTo>
                      <a:pt x="72" y="80"/>
                    </a:lnTo>
                    <a:lnTo>
                      <a:pt x="76" y="76"/>
                    </a:lnTo>
                    <a:lnTo>
                      <a:pt x="76" y="76"/>
                    </a:lnTo>
                    <a:lnTo>
                      <a:pt x="79" y="74"/>
                    </a:lnTo>
                    <a:lnTo>
                      <a:pt x="82" y="68"/>
                    </a:lnTo>
                    <a:lnTo>
                      <a:pt x="83" y="64"/>
                    </a:lnTo>
                    <a:lnTo>
                      <a:pt x="83" y="60"/>
                    </a:lnTo>
                    <a:lnTo>
                      <a:pt x="83" y="55"/>
                    </a:lnTo>
                    <a:lnTo>
                      <a:pt x="82" y="51"/>
                    </a:lnTo>
                    <a:lnTo>
                      <a:pt x="79" y="47"/>
                    </a:lnTo>
                    <a:lnTo>
                      <a:pt x="76" y="43"/>
                    </a:lnTo>
                    <a:lnTo>
                      <a:pt x="76" y="43"/>
                    </a:lnTo>
                    <a:lnTo>
                      <a:pt x="70" y="39"/>
                    </a:lnTo>
                    <a:lnTo>
                      <a:pt x="60" y="32"/>
                    </a:lnTo>
                    <a:lnTo>
                      <a:pt x="33" y="17"/>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159"/>
              <p:cNvSpPr>
                <a:spLocks/>
              </p:cNvSpPr>
              <p:nvPr/>
            </p:nvSpPr>
            <p:spPr bwMode="auto">
              <a:xfrm>
                <a:off x="814388" y="1017588"/>
                <a:ext cx="12700" cy="28575"/>
              </a:xfrm>
              <a:custGeom>
                <a:avLst/>
                <a:gdLst>
                  <a:gd name="T0" fmla="*/ 8 w 16"/>
                  <a:gd name="T1" fmla="*/ 36 h 36"/>
                  <a:gd name="T2" fmla="*/ 8 w 16"/>
                  <a:gd name="T3" fmla="*/ 36 h 36"/>
                  <a:gd name="T4" fmla="*/ 12 w 16"/>
                  <a:gd name="T5" fmla="*/ 35 h 36"/>
                  <a:gd name="T6" fmla="*/ 15 w 16"/>
                  <a:gd name="T7" fmla="*/ 33 h 36"/>
                  <a:gd name="T8" fmla="*/ 16 w 16"/>
                  <a:gd name="T9" fmla="*/ 31 h 36"/>
                  <a:gd name="T10" fmla="*/ 16 w 16"/>
                  <a:gd name="T11" fmla="*/ 27 h 36"/>
                  <a:gd name="T12" fmla="*/ 16 w 16"/>
                  <a:gd name="T13" fmla="*/ 9 h 36"/>
                  <a:gd name="T14" fmla="*/ 16 w 16"/>
                  <a:gd name="T15" fmla="*/ 9 h 36"/>
                  <a:gd name="T16" fmla="*/ 16 w 16"/>
                  <a:gd name="T17" fmla="*/ 5 h 36"/>
                  <a:gd name="T18" fmla="*/ 15 w 16"/>
                  <a:gd name="T19" fmla="*/ 3 h 36"/>
                  <a:gd name="T20" fmla="*/ 12 w 16"/>
                  <a:gd name="T21" fmla="*/ 1 h 36"/>
                  <a:gd name="T22" fmla="*/ 8 w 16"/>
                  <a:gd name="T23" fmla="*/ 0 h 36"/>
                  <a:gd name="T24" fmla="*/ 8 w 16"/>
                  <a:gd name="T25" fmla="*/ 0 h 36"/>
                  <a:gd name="T26" fmla="*/ 4 w 16"/>
                  <a:gd name="T27" fmla="*/ 1 h 36"/>
                  <a:gd name="T28" fmla="*/ 1 w 16"/>
                  <a:gd name="T29" fmla="*/ 3 h 36"/>
                  <a:gd name="T30" fmla="*/ 0 w 16"/>
                  <a:gd name="T31" fmla="*/ 5 h 36"/>
                  <a:gd name="T32" fmla="*/ 0 w 16"/>
                  <a:gd name="T33" fmla="*/ 9 h 36"/>
                  <a:gd name="T34" fmla="*/ 0 w 16"/>
                  <a:gd name="T35" fmla="*/ 27 h 36"/>
                  <a:gd name="T36" fmla="*/ 0 w 16"/>
                  <a:gd name="T37" fmla="*/ 27 h 36"/>
                  <a:gd name="T38" fmla="*/ 0 w 16"/>
                  <a:gd name="T39" fmla="*/ 31 h 36"/>
                  <a:gd name="T40" fmla="*/ 1 w 16"/>
                  <a:gd name="T41" fmla="*/ 33 h 36"/>
                  <a:gd name="T42" fmla="*/ 4 w 16"/>
                  <a:gd name="T43" fmla="*/ 35 h 36"/>
                  <a:gd name="T44" fmla="*/ 8 w 16"/>
                  <a:gd name="T45" fmla="*/ 36 h 36"/>
                  <a:gd name="T46" fmla="*/ 8 w 16"/>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36"/>
                    </a:moveTo>
                    <a:lnTo>
                      <a:pt x="8" y="36"/>
                    </a:lnTo>
                    <a:lnTo>
                      <a:pt x="12" y="35"/>
                    </a:lnTo>
                    <a:lnTo>
                      <a:pt x="15" y="33"/>
                    </a:lnTo>
                    <a:lnTo>
                      <a:pt x="16" y="31"/>
                    </a:lnTo>
                    <a:lnTo>
                      <a:pt x="16" y="27"/>
                    </a:lnTo>
                    <a:lnTo>
                      <a:pt x="16" y="9"/>
                    </a:lnTo>
                    <a:lnTo>
                      <a:pt x="16" y="9"/>
                    </a:lnTo>
                    <a:lnTo>
                      <a:pt x="16" y="5"/>
                    </a:lnTo>
                    <a:lnTo>
                      <a:pt x="15" y="3"/>
                    </a:lnTo>
                    <a:lnTo>
                      <a:pt x="12" y="1"/>
                    </a:lnTo>
                    <a:lnTo>
                      <a:pt x="8" y="0"/>
                    </a:lnTo>
                    <a:lnTo>
                      <a:pt x="8" y="0"/>
                    </a:lnTo>
                    <a:lnTo>
                      <a:pt x="4" y="1"/>
                    </a:lnTo>
                    <a:lnTo>
                      <a:pt x="1" y="3"/>
                    </a:lnTo>
                    <a:lnTo>
                      <a:pt x="0" y="5"/>
                    </a:lnTo>
                    <a:lnTo>
                      <a:pt x="0" y="9"/>
                    </a:lnTo>
                    <a:lnTo>
                      <a:pt x="0" y="27"/>
                    </a:lnTo>
                    <a:lnTo>
                      <a:pt x="0" y="27"/>
                    </a:lnTo>
                    <a:lnTo>
                      <a:pt x="0" y="31"/>
                    </a:lnTo>
                    <a:lnTo>
                      <a:pt x="1" y="33"/>
                    </a:lnTo>
                    <a:lnTo>
                      <a:pt x="4" y="35"/>
                    </a:lnTo>
                    <a:lnTo>
                      <a:pt x="8" y="36"/>
                    </a:lnTo>
                    <a:lnTo>
                      <a:pt x="8"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60"/>
              <p:cNvSpPr>
                <a:spLocks/>
              </p:cNvSpPr>
              <p:nvPr/>
            </p:nvSpPr>
            <p:spPr bwMode="auto">
              <a:xfrm>
                <a:off x="885826" y="1103313"/>
                <a:ext cx="26988" cy="14288"/>
              </a:xfrm>
              <a:custGeom>
                <a:avLst/>
                <a:gdLst>
                  <a:gd name="T0" fmla="*/ 27 w 35"/>
                  <a:gd name="T1" fmla="*/ 0 h 17"/>
                  <a:gd name="T2" fmla="*/ 8 w 35"/>
                  <a:gd name="T3" fmla="*/ 0 h 17"/>
                  <a:gd name="T4" fmla="*/ 8 w 35"/>
                  <a:gd name="T5" fmla="*/ 0 h 17"/>
                  <a:gd name="T6" fmla="*/ 5 w 35"/>
                  <a:gd name="T7" fmla="*/ 1 h 17"/>
                  <a:gd name="T8" fmla="*/ 2 w 35"/>
                  <a:gd name="T9" fmla="*/ 2 h 17"/>
                  <a:gd name="T10" fmla="*/ 0 w 35"/>
                  <a:gd name="T11" fmla="*/ 5 h 17"/>
                  <a:gd name="T12" fmla="*/ 0 w 35"/>
                  <a:gd name="T13" fmla="*/ 9 h 17"/>
                  <a:gd name="T14" fmla="*/ 0 w 35"/>
                  <a:gd name="T15" fmla="*/ 9 h 17"/>
                  <a:gd name="T16" fmla="*/ 0 w 35"/>
                  <a:gd name="T17" fmla="*/ 12 h 17"/>
                  <a:gd name="T18" fmla="*/ 2 w 35"/>
                  <a:gd name="T19" fmla="*/ 14 h 17"/>
                  <a:gd name="T20" fmla="*/ 5 w 35"/>
                  <a:gd name="T21" fmla="*/ 17 h 17"/>
                  <a:gd name="T22" fmla="*/ 8 w 35"/>
                  <a:gd name="T23" fmla="*/ 17 h 17"/>
                  <a:gd name="T24" fmla="*/ 27 w 35"/>
                  <a:gd name="T25" fmla="*/ 17 h 17"/>
                  <a:gd name="T26" fmla="*/ 27 w 35"/>
                  <a:gd name="T27" fmla="*/ 17 h 17"/>
                  <a:gd name="T28" fmla="*/ 29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29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2" y="2"/>
                    </a:lnTo>
                    <a:lnTo>
                      <a:pt x="0" y="5"/>
                    </a:lnTo>
                    <a:lnTo>
                      <a:pt x="0" y="9"/>
                    </a:lnTo>
                    <a:lnTo>
                      <a:pt x="0" y="9"/>
                    </a:lnTo>
                    <a:lnTo>
                      <a:pt x="0" y="12"/>
                    </a:lnTo>
                    <a:lnTo>
                      <a:pt x="2" y="14"/>
                    </a:lnTo>
                    <a:lnTo>
                      <a:pt x="5" y="17"/>
                    </a:lnTo>
                    <a:lnTo>
                      <a:pt x="8" y="17"/>
                    </a:lnTo>
                    <a:lnTo>
                      <a:pt x="27" y="17"/>
                    </a:lnTo>
                    <a:lnTo>
                      <a:pt x="27" y="17"/>
                    </a:lnTo>
                    <a:lnTo>
                      <a:pt x="29" y="17"/>
                    </a:lnTo>
                    <a:lnTo>
                      <a:pt x="32" y="14"/>
                    </a:lnTo>
                    <a:lnTo>
                      <a:pt x="35" y="12"/>
                    </a:lnTo>
                    <a:lnTo>
                      <a:pt x="35" y="9"/>
                    </a:lnTo>
                    <a:lnTo>
                      <a:pt x="35" y="9"/>
                    </a:lnTo>
                    <a:lnTo>
                      <a:pt x="35" y="5"/>
                    </a:lnTo>
                    <a:lnTo>
                      <a:pt x="32" y="2"/>
                    </a:lnTo>
                    <a:lnTo>
                      <a:pt x="29" y="1"/>
                    </a:lnTo>
                    <a:lnTo>
                      <a:pt x="27" y="0"/>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61"/>
              <p:cNvSpPr>
                <a:spLocks/>
              </p:cNvSpPr>
              <p:nvPr/>
            </p:nvSpPr>
            <p:spPr bwMode="auto">
              <a:xfrm>
                <a:off x="814388" y="1174750"/>
                <a:ext cx="12700" cy="28575"/>
              </a:xfrm>
              <a:custGeom>
                <a:avLst/>
                <a:gdLst>
                  <a:gd name="T0" fmla="*/ 8 w 16"/>
                  <a:gd name="T1" fmla="*/ 0 h 36"/>
                  <a:gd name="T2" fmla="*/ 8 w 16"/>
                  <a:gd name="T3" fmla="*/ 0 h 36"/>
                  <a:gd name="T4" fmla="*/ 4 w 16"/>
                  <a:gd name="T5" fmla="*/ 1 h 36"/>
                  <a:gd name="T6" fmla="*/ 1 w 16"/>
                  <a:gd name="T7" fmla="*/ 2 h 36"/>
                  <a:gd name="T8" fmla="*/ 0 w 16"/>
                  <a:gd name="T9" fmla="*/ 5 h 36"/>
                  <a:gd name="T10" fmla="*/ 0 w 16"/>
                  <a:gd name="T11" fmla="*/ 9 h 36"/>
                  <a:gd name="T12" fmla="*/ 0 w 16"/>
                  <a:gd name="T13" fmla="*/ 27 h 36"/>
                  <a:gd name="T14" fmla="*/ 0 w 16"/>
                  <a:gd name="T15" fmla="*/ 27 h 36"/>
                  <a:gd name="T16" fmla="*/ 0 w 16"/>
                  <a:gd name="T17" fmla="*/ 31 h 36"/>
                  <a:gd name="T18" fmla="*/ 1 w 16"/>
                  <a:gd name="T19" fmla="*/ 33 h 36"/>
                  <a:gd name="T20" fmla="*/ 4 w 16"/>
                  <a:gd name="T21" fmla="*/ 35 h 36"/>
                  <a:gd name="T22" fmla="*/ 8 w 16"/>
                  <a:gd name="T23" fmla="*/ 36 h 36"/>
                  <a:gd name="T24" fmla="*/ 8 w 16"/>
                  <a:gd name="T25" fmla="*/ 36 h 36"/>
                  <a:gd name="T26" fmla="*/ 12 w 16"/>
                  <a:gd name="T27" fmla="*/ 35 h 36"/>
                  <a:gd name="T28" fmla="*/ 15 w 16"/>
                  <a:gd name="T29" fmla="*/ 33 h 36"/>
                  <a:gd name="T30" fmla="*/ 16 w 16"/>
                  <a:gd name="T31" fmla="*/ 31 h 36"/>
                  <a:gd name="T32" fmla="*/ 16 w 16"/>
                  <a:gd name="T33" fmla="*/ 27 h 36"/>
                  <a:gd name="T34" fmla="*/ 16 w 16"/>
                  <a:gd name="T35" fmla="*/ 9 h 36"/>
                  <a:gd name="T36" fmla="*/ 16 w 16"/>
                  <a:gd name="T37" fmla="*/ 9 h 36"/>
                  <a:gd name="T38" fmla="*/ 16 w 16"/>
                  <a:gd name="T39" fmla="*/ 5 h 36"/>
                  <a:gd name="T40" fmla="*/ 15 w 16"/>
                  <a:gd name="T41" fmla="*/ 2 h 36"/>
                  <a:gd name="T42" fmla="*/ 12 w 16"/>
                  <a:gd name="T43" fmla="*/ 1 h 36"/>
                  <a:gd name="T44" fmla="*/ 8 w 16"/>
                  <a:gd name="T45" fmla="*/ 0 h 36"/>
                  <a:gd name="T46" fmla="*/ 8 w 16"/>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0"/>
                    </a:moveTo>
                    <a:lnTo>
                      <a:pt x="8" y="0"/>
                    </a:lnTo>
                    <a:lnTo>
                      <a:pt x="4" y="1"/>
                    </a:lnTo>
                    <a:lnTo>
                      <a:pt x="1" y="2"/>
                    </a:lnTo>
                    <a:lnTo>
                      <a:pt x="0" y="5"/>
                    </a:lnTo>
                    <a:lnTo>
                      <a:pt x="0" y="9"/>
                    </a:lnTo>
                    <a:lnTo>
                      <a:pt x="0" y="27"/>
                    </a:lnTo>
                    <a:lnTo>
                      <a:pt x="0" y="27"/>
                    </a:lnTo>
                    <a:lnTo>
                      <a:pt x="0" y="31"/>
                    </a:lnTo>
                    <a:lnTo>
                      <a:pt x="1" y="33"/>
                    </a:lnTo>
                    <a:lnTo>
                      <a:pt x="4" y="35"/>
                    </a:lnTo>
                    <a:lnTo>
                      <a:pt x="8" y="36"/>
                    </a:lnTo>
                    <a:lnTo>
                      <a:pt x="8" y="36"/>
                    </a:lnTo>
                    <a:lnTo>
                      <a:pt x="12" y="35"/>
                    </a:lnTo>
                    <a:lnTo>
                      <a:pt x="15" y="33"/>
                    </a:lnTo>
                    <a:lnTo>
                      <a:pt x="16" y="31"/>
                    </a:lnTo>
                    <a:lnTo>
                      <a:pt x="16" y="27"/>
                    </a:lnTo>
                    <a:lnTo>
                      <a:pt x="16" y="9"/>
                    </a:lnTo>
                    <a:lnTo>
                      <a:pt x="16" y="9"/>
                    </a:lnTo>
                    <a:lnTo>
                      <a:pt x="16" y="5"/>
                    </a:lnTo>
                    <a:lnTo>
                      <a:pt x="15" y="2"/>
                    </a:lnTo>
                    <a:lnTo>
                      <a:pt x="12" y="1"/>
                    </a:lnTo>
                    <a:lnTo>
                      <a:pt x="8"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162"/>
              <p:cNvSpPr>
                <a:spLocks/>
              </p:cNvSpPr>
              <p:nvPr/>
            </p:nvSpPr>
            <p:spPr bwMode="auto">
              <a:xfrm>
                <a:off x="727076" y="1103313"/>
                <a:ext cx="28575" cy="14288"/>
              </a:xfrm>
              <a:custGeom>
                <a:avLst/>
                <a:gdLst>
                  <a:gd name="T0" fmla="*/ 27 w 35"/>
                  <a:gd name="T1" fmla="*/ 0 h 17"/>
                  <a:gd name="T2" fmla="*/ 8 w 35"/>
                  <a:gd name="T3" fmla="*/ 0 h 17"/>
                  <a:gd name="T4" fmla="*/ 8 w 35"/>
                  <a:gd name="T5" fmla="*/ 0 h 17"/>
                  <a:gd name="T6" fmla="*/ 5 w 35"/>
                  <a:gd name="T7" fmla="*/ 1 h 17"/>
                  <a:gd name="T8" fmla="*/ 3 w 35"/>
                  <a:gd name="T9" fmla="*/ 2 h 17"/>
                  <a:gd name="T10" fmla="*/ 0 w 35"/>
                  <a:gd name="T11" fmla="*/ 5 h 17"/>
                  <a:gd name="T12" fmla="*/ 0 w 35"/>
                  <a:gd name="T13" fmla="*/ 9 h 17"/>
                  <a:gd name="T14" fmla="*/ 0 w 35"/>
                  <a:gd name="T15" fmla="*/ 9 h 17"/>
                  <a:gd name="T16" fmla="*/ 0 w 35"/>
                  <a:gd name="T17" fmla="*/ 12 h 17"/>
                  <a:gd name="T18" fmla="*/ 3 w 35"/>
                  <a:gd name="T19" fmla="*/ 14 h 17"/>
                  <a:gd name="T20" fmla="*/ 5 w 35"/>
                  <a:gd name="T21" fmla="*/ 17 h 17"/>
                  <a:gd name="T22" fmla="*/ 8 w 35"/>
                  <a:gd name="T23" fmla="*/ 17 h 17"/>
                  <a:gd name="T24" fmla="*/ 27 w 35"/>
                  <a:gd name="T25" fmla="*/ 17 h 17"/>
                  <a:gd name="T26" fmla="*/ 27 w 35"/>
                  <a:gd name="T27" fmla="*/ 17 h 17"/>
                  <a:gd name="T28" fmla="*/ 30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30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3" y="2"/>
                    </a:lnTo>
                    <a:lnTo>
                      <a:pt x="0" y="5"/>
                    </a:lnTo>
                    <a:lnTo>
                      <a:pt x="0" y="9"/>
                    </a:lnTo>
                    <a:lnTo>
                      <a:pt x="0" y="9"/>
                    </a:lnTo>
                    <a:lnTo>
                      <a:pt x="0" y="12"/>
                    </a:lnTo>
                    <a:lnTo>
                      <a:pt x="3" y="14"/>
                    </a:lnTo>
                    <a:lnTo>
                      <a:pt x="5" y="17"/>
                    </a:lnTo>
                    <a:lnTo>
                      <a:pt x="8" y="17"/>
                    </a:lnTo>
                    <a:lnTo>
                      <a:pt x="27" y="17"/>
                    </a:lnTo>
                    <a:lnTo>
                      <a:pt x="27" y="17"/>
                    </a:lnTo>
                    <a:lnTo>
                      <a:pt x="30" y="17"/>
                    </a:lnTo>
                    <a:lnTo>
                      <a:pt x="32" y="14"/>
                    </a:lnTo>
                    <a:lnTo>
                      <a:pt x="35" y="12"/>
                    </a:lnTo>
                    <a:lnTo>
                      <a:pt x="35" y="9"/>
                    </a:lnTo>
                    <a:lnTo>
                      <a:pt x="35" y="9"/>
                    </a:lnTo>
                    <a:lnTo>
                      <a:pt x="35" y="5"/>
                    </a:lnTo>
                    <a:lnTo>
                      <a:pt x="32" y="2"/>
                    </a:lnTo>
                    <a:lnTo>
                      <a:pt x="30" y="1"/>
                    </a:lnTo>
                    <a:lnTo>
                      <a:pt x="27" y="0"/>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63"/>
              <p:cNvSpPr>
                <a:spLocks noEditPoints="1"/>
              </p:cNvSpPr>
              <p:nvPr/>
            </p:nvSpPr>
            <p:spPr bwMode="auto">
              <a:xfrm>
                <a:off x="698501" y="987425"/>
                <a:ext cx="244475" cy="246063"/>
              </a:xfrm>
              <a:custGeom>
                <a:avLst/>
                <a:gdLst>
                  <a:gd name="T0" fmla="*/ 139 w 309"/>
                  <a:gd name="T1" fmla="*/ 2 h 311"/>
                  <a:gd name="T2" fmla="*/ 94 w 309"/>
                  <a:gd name="T3" fmla="*/ 14 h 311"/>
                  <a:gd name="T4" fmla="*/ 57 w 309"/>
                  <a:gd name="T5" fmla="*/ 37 h 311"/>
                  <a:gd name="T6" fmla="*/ 27 w 309"/>
                  <a:gd name="T7" fmla="*/ 69 h 311"/>
                  <a:gd name="T8" fmla="*/ 7 w 309"/>
                  <a:gd name="T9" fmla="*/ 109 h 311"/>
                  <a:gd name="T10" fmla="*/ 0 w 309"/>
                  <a:gd name="T11" fmla="*/ 156 h 311"/>
                  <a:gd name="T12" fmla="*/ 3 w 309"/>
                  <a:gd name="T13" fmla="*/ 187 h 311"/>
                  <a:gd name="T14" fmla="*/ 19 w 309"/>
                  <a:gd name="T15" fmla="*/ 230 h 311"/>
                  <a:gd name="T16" fmla="*/ 46 w 309"/>
                  <a:gd name="T17" fmla="*/ 265 h 311"/>
                  <a:gd name="T18" fmla="*/ 81 w 309"/>
                  <a:gd name="T19" fmla="*/ 292 h 311"/>
                  <a:gd name="T20" fmla="*/ 124 w 309"/>
                  <a:gd name="T21" fmla="*/ 308 h 311"/>
                  <a:gd name="T22" fmla="*/ 155 w 309"/>
                  <a:gd name="T23" fmla="*/ 311 h 311"/>
                  <a:gd name="T24" fmla="*/ 201 w 309"/>
                  <a:gd name="T25" fmla="*/ 304 h 311"/>
                  <a:gd name="T26" fmla="*/ 241 w 309"/>
                  <a:gd name="T27" fmla="*/ 284 h 311"/>
                  <a:gd name="T28" fmla="*/ 274 w 309"/>
                  <a:gd name="T29" fmla="*/ 254 h 311"/>
                  <a:gd name="T30" fmla="*/ 297 w 309"/>
                  <a:gd name="T31" fmla="*/ 215 h 311"/>
                  <a:gd name="T32" fmla="*/ 309 w 309"/>
                  <a:gd name="T33" fmla="*/ 171 h 311"/>
                  <a:gd name="T34" fmla="*/ 309 w 309"/>
                  <a:gd name="T35" fmla="*/ 140 h 311"/>
                  <a:gd name="T36" fmla="*/ 297 w 309"/>
                  <a:gd name="T37" fmla="*/ 96 h 311"/>
                  <a:gd name="T38" fmla="*/ 274 w 309"/>
                  <a:gd name="T39" fmla="*/ 57 h 311"/>
                  <a:gd name="T40" fmla="*/ 241 w 309"/>
                  <a:gd name="T41" fmla="*/ 27 h 311"/>
                  <a:gd name="T42" fmla="*/ 201 w 309"/>
                  <a:gd name="T43" fmla="*/ 8 h 311"/>
                  <a:gd name="T44" fmla="*/ 155 w 309"/>
                  <a:gd name="T45" fmla="*/ 0 h 311"/>
                  <a:gd name="T46" fmla="*/ 155 w 309"/>
                  <a:gd name="T47" fmla="*/ 290 h 311"/>
                  <a:gd name="T48" fmla="*/ 115 w 309"/>
                  <a:gd name="T49" fmla="*/ 284 h 311"/>
                  <a:gd name="T50" fmla="*/ 80 w 309"/>
                  <a:gd name="T51" fmla="*/ 268 h 311"/>
                  <a:gd name="T52" fmla="*/ 51 w 309"/>
                  <a:gd name="T53" fmla="*/ 241 h 311"/>
                  <a:gd name="T54" fmla="*/ 31 w 309"/>
                  <a:gd name="T55" fmla="*/ 208 h 311"/>
                  <a:gd name="T56" fmla="*/ 21 w 309"/>
                  <a:gd name="T57" fmla="*/ 170 h 311"/>
                  <a:gd name="T58" fmla="*/ 21 w 309"/>
                  <a:gd name="T59" fmla="*/ 141 h 311"/>
                  <a:gd name="T60" fmla="*/ 31 w 309"/>
                  <a:gd name="T61" fmla="*/ 104 h 311"/>
                  <a:gd name="T62" fmla="*/ 51 w 309"/>
                  <a:gd name="T63" fmla="*/ 70 h 311"/>
                  <a:gd name="T64" fmla="*/ 80 w 309"/>
                  <a:gd name="T65" fmla="*/ 45 h 311"/>
                  <a:gd name="T66" fmla="*/ 115 w 309"/>
                  <a:gd name="T67" fmla="*/ 27 h 311"/>
                  <a:gd name="T68" fmla="*/ 155 w 309"/>
                  <a:gd name="T69" fmla="*/ 20 h 311"/>
                  <a:gd name="T70" fmla="*/ 182 w 309"/>
                  <a:gd name="T71" fmla="*/ 23 h 311"/>
                  <a:gd name="T72" fmla="*/ 219 w 309"/>
                  <a:gd name="T73" fmla="*/ 38 h 311"/>
                  <a:gd name="T74" fmla="*/ 250 w 309"/>
                  <a:gd name="T75" fmla="*/ 61 h 311"/>
                  <a:gd name="T76" fmla="*/ 273 w 309"/>
                  <a:gd name="T77" fmla="*/ 92 h 311"/>
                  <a:gd name="T78" fmla="*/ 286 w 309"/>
                  <a:gd name="T79" fmla="*/ 128 h 311"/>
                  <a:gd name="T80" fmla="*/ 289 w 309"/>
                  <a:gd name="T81" fmla="*/ 156 h 311"/>
                  <a:gd name="T82" fmla="*/ 284 w 309"/>
                  <a:gd name="T83" fmla="*/ 195 h 311"/>
                  <a:gd name="T84" fmla="*/ 266 w 309"/>
                  <a:gd name="T85" fmla="*/ 231 h 311"/>
                  <a:gd name="T86" fmla="*/ 241 w 309"/>
                  <a:gd name="T87" fmla="*/ 260 h 311"/>
                  <a:gd name="T88" fmla="*/ 207 w 309"/>
                  <a:gd name="T89" fmla="*/ 280 h 311"/>
                  <a:gd name="T90" fmla="*/ 168 w 309"/>
                  <a:gd name="T91" fmla="*/ 28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311">
                    <a:moveTo>
                      <a:pt x="155" y="0"/>
                    </a:moveTo>
                    <a:lnTo>
                      <a:pt x="155" y="0"/>
                    </a:lnTo>
                    <a:lnTo>
                      <a:pt x="139" y="2"/>
                    </a:lnTo>
                    <a:lnTo>
                      <a:pt x="124" y="4"/>
                    </a:lnTo>
                    <a:lnTo>
                      <a:pt x="109" y="8"/>
                    </a:lnTo>
                    <a:lnTo>
                      <a:pt x="94" y="14"/>
                    </a:lnTo>
                    <a:lnTo>
                      <a:pt x="81" y="19"/>
                    </a:lnTo>
                    <a:lnTo>
                      <a:pt x="69" y="27"/>
                    </a:lnTo>
                    <a:lnTo>
                      <a:pt x="57" y="37"/>
                    </a:lnTo>
                    <a:lnTo>
                      <a:pt x="46" y="46"/>
                    </a:lnTo>
                    <a:lnTo>
                      <a:pt x="35" y="57"/>
                    </a:lnTo>
                    <a:lnTo>
                      <a:pt x="27" y="69"/>
                    </a:lnTo>
                    <a:lnTo>
                      <a:pt x="19" y="82"/>
                    </a:lnTo>
                    <a:lnTo>
                      <a:pt x="12" y="96"/>
                    </a:lnTo>
                    <a:lnTo>
                      <a:pt x="7" y="109"/>
                    </a:lnTo>
                    <a:lnTo>
                      <a:pt x="3" y="124"/>
                    </a:lnTo>
                    <a:lnTo>
                      <a:pt x="0" y="140"/>
                    </a:lnTo>
                    <a:lnTo>
                      <a:pt x="0" y="156"/>
                    </a:lnTo>
                    <a:lnTo>
                      <a:pt x="0" y="156"/>
                    </a:lnTo>
                    <a:lnTo>
                      <a:pt x="0" y="171"/>
                    </a:lnTo>
                    <a:lnTo>
                      <a:pt x="3" y="187"/>
                    </a:lnTo>
                    <a:lnTo>
                      <a:pt x="7" y="202"/>
                    </a:lnTo>
                    <a:lnTo>
                      <a:pt x="12" y="215"/>
                    </a:lnTo>
                    <a:lnTo>
                      <a:pt x="19" y="230"/>
                    </a:lnTo>
                    <a:lnTo>
                      <a:pt x="27" y="242"/>
                    </a:lnTo>
                    <a:lnTo>
                      <a:pt x="35" y="254"/>
                    </a:lnTo>
                    <a:lnTo>
                      <a:pt x="46" y="265"/>
                    </a:lnTo>
                    <a:lnTo>
                      <a:pt x="57" y="276"/>
                    </a:lnTo>
                    <a:lnTo>
                      <a:pt x="69" y="284"/>
                    </a:lnTo>
                    <a:lnTo>
                      <a:pt x="81" y="292"/>
                    </a:lnTo>
                    <a:lnTo>
                      <a:pt x="94" y="298"/>
                    </a:lnTo>
                    <a:lnTo>
                      <a:pt x="109" y="304"/>
                    </a:lnTo>
                    <a:lnTo>
                      <a:pt x="124" y="308"/>
                    </a:lnTo>
                    <a:lnTo>
                      <a:pt x="139" y="309"/>
                    </a:lnTo>
                    <a:lnTo>
                      <a:pt x="155" y="311"/>
                    </a:lnTo>
                    <a:lnTo>
                      <a:pt x="155" y="311"/>
                    </a:lnTo>
                    <a:lnTo>
                      <a:pt x="171" y="309"/>
                    </a:lnTo>
                    <a:lnTo>
                      <a:pt x="186" y="308"/>
                    </a:lnTo>
                    <a:lnTo>
                      <a:pt x="201" y="304"/>
                    </a:lnTo>
                    <a:lnTo>
                      <a:pt x="215" y="298"/>
                    </a:lnTo>
                    <a:lnTo>
                      <a:pt x="229" y="292"/>
                    </a:lnTo>
                    <a:lnTo>
                      <a:pt x="241" y="284"/>
                    </a:lnTo>
                    <a:lnTo>
                      <a:pt x="253" y="276"/>
                    </a:lnTo>
                    <a:lnTo>
                      <a:pt x="264" y="265"/>
                    </a:lnTo>
                    <a:lnTo>
                      <a:pt x="274" y="254"/>
                    </a:lnTo>
                    <a:lnTo>
                      <a:pt x="282" y="242"/>
                    </a:lnTo>
                    <a:lnTo>
                      <a:pt x="291" y="230"/>
                    </a:lnTo>
                    <a:lnTo>
                      <a:pt x="297" y="215"/>
                    </a:lnTo>
                    <a:lnTo>
                      <a:pt x="303" y="202"/>
                    </a:lnTo>
                    <a:lnTo>
                      <a:pt x="307" y="187"/>
                    </a:lnTo>
                    <a:lnTo>
                      <a:pt x="309" y="171"/>
                    </a:lnTo>
                    <a:lnTo>
                      <a:pt x="309" y="156"/>
                    </a:lnTo>
                    <a:lnTo>
                      <a:pt x="309" y="156"/>
                    </a:lnTo>
                    <a:lnTo>
                      <a:pt x="309" y="140"/>
                    </a:lnTo>
                    <a:lnTo>
                      <a:pt x="307" y="124"/>
                    </a:lnTo>
                    <a:lnTo>
                      <a:pt x="303" y="109"/>
                    </a:lnTo>
                    <a:lnTo>
                      <a:pt x="297" y="96"/>
                    </a:lnTo>
                    <a:lnTo>
                      <a:pt x="291" y="82"/>
                    </a:lnTo>
                    <a:lnTo>
                      <a:pt x="282" y="69"/>
                    </a:lnTo>
                    <a:lnTo>
                      <a:pt x="274" y="57"/>
                    </a:lnTo>
                    <a:lnTo>
                      <a:pt x="264" y="46"/>
                    </a:lnTo>
                    <a:lnTo>
                      <a:pt x="253" y="37"/>
                    </a:lnTo>
                    <a:lnTo>
                      <a:pt x="241" y="27"/>
                    </a:lnTo>
                    <a:lnTo>
                      <a:pt x="229" y="19"/>
                    </a:lnTo>
                    <a:lnTo>
                      <a:pt x="215" y="14"/>
                    </a:lnTo>
                    <a:lnTo>
                      <a:pt x="201" y="8"/>
                    </a:lnTo>
                    <a:lnTo>
                      <a:pt x="186" y="4"/>
                    </a:lnTo>
                    <a:lnTo>
                      <a:pt x="171" y="2"/>
                    </a:lnTo>
                    <a:lnTo>
                      <a:pt x="155" y="0"/>
                    </a:lnTo>
                    <a:lnTo>
                      <a:pt x="155" y="0"/>
                    </a:lnTo>
                    <a:close/>
                    <a:moveTo>
                      <a:pt x="155" y="290"/>
                    </a:moveTo>
                    <a:lnTo>
                      <a:pt x="155" y="290"/>
                    </a:lnTo>
                    <a:lnTo>
                      <a:pt x="141" y="289"/>
                    </a:lnTo>
                    <a:lnTo>
                      <a:pt x="128" y="288"/>
                    </a:lnTo>
                    <a:lnTo>
                      <a:pt x="115" y="284"/>
                    </a:lnTo>
                    <a:lnTo>
                      <a:pt x="102" y="280"/>
                    </a:lnTo>
                    <a:lnTo>
                      <a:pt x="90" y="274"/>
                    </a:lnTo>
                    <a:lnTo>
                      <a:pt x="80" y="268"/>
                    </a:lnTo>
                    <a:lnTo>
                      <a:pt x="69" y="260"/>
                    </a:lnTo>
                    <a:lnTo>
                      <a:pt x="59" y="250"/>
                    </a:lnTo>
                    <a:lnTo>
                      <a:pt x="51" y="241"/>
                    </a:lnTo>
                    <a:lnTo>
                      <a:pt x="43" y="231"/>
                    </a:lnTo>
                    <a:lnTo>
                      <a:pt x="37" y="219"/>
                    </a:lnTo>
                    <a:lnTo>
                      <a:pt x="31" y="208"/>
                    </a:lnTo>
                    <a:lnTo>
                      <a:pt x="26" y="195"/>
                    </a:lnTo>
                    <a:lnTo>
                      <a:pt x="23" y="183"/>
                    </a:lnTo>
                    <a:lnTo>
                      <a:pt x="21" y="170"/>
                    </a:lnTo>
                    <a:lnTo>
                      <a:pt x="21" y="156"/>
                    </a:lnTo>
                    <a:lnTo>
                      <a:pt x="21" y="156"/>
                    </a:lnTo>
                    <a:lnTo>
                      <a:pt x="21" y="141"/>
                    </a:lnTo>
                    <a:lnTo>
                      <a:pt x="23" y="128"/>
                    </a:lnTo>
                    <a:lnTo>
                      <a:pt x="26" y="116"/>
                    </a:lnTo>
                    <a:lnTo>
                      <a:pt x="31" y="104"/>
                    </a:lnTo>
                    <a:lnTo>
                      <a:pt x="37" y="92"/>
                    </a:lnTo>
                    <a:lnTo>
                      <a:pt x="43" y="81"/>
                    </a:lnTo>
                    <a:lnTo>
                      <a:pt x="51" y="70"/>
                    </a:lnTo>
                    <a:lnTo>
                      <a:pt x="59" y="61"/>
                    </a:lnTo>
                    <a:lnTo>
                      <a:pt x="69" y="51"/>
                    </a:lnTo>
                    <a:lnTo>
                      <a:pt x="80" y="45"/>
                    </a:lnTo>
                    <a:lnTo>
                      <a:pt x="90" y="38"/>
                    </a:lnTo>
                    <a:lnTo>
                      <a:pt x="102" y="31"/>
                    </a:lnTo>
                    <a:lnTo>
                      <a:pt x="115" y="27"/>
                    </a:lnTo>
                    <a:lnTo>
                      <a:pt x="128" y="23"/>
                    </a:lnTo>
                    <a:lnTo>
                      <a:pt x="141" y="22"/>
                    </a:lnTo>
                    <a:lnTo>
                      <a:pt x="155" y="20"/>
                    </a:lnTo>
                    <a:lnTo>
                      <a:pt x="155" y="20"/>
                    </a:lnTo>
                    <a:lnTo>
                      <a:pt x="168" y="22"/>
                    </a:lnTo>
                    <a:lnTo>
                      <a:pt x="182" y="23"/>
                    </a:lnTo>
                    <a:lnTo>
                      <a:pt x="195" y="27"/>
                    </a:lnTo>
                    <a:lnTo>
                      <a:pt x="207" y="31"/>
                    </a:lnTo>
                    <a:lnTo>
                      <a:pt x="219" y="38"/>
                    </a:lnTo>
                    <a:lnTo>
                      <a:pt x="230" y="45"/>
                    </a:lnTo>
                    <a:lnTo>
                      <a:pt x="241" y="51"/>
                    </a:lnTo>
                    <a:lnTo>
                      <a:pt x="250" y="61"/>
                    </a:lnTo>
                    <a:lnTo>
                      <a:pt x="258" y="70"/>
                    </a:lnTo>
                    <a:lnTo>
                      <a:pt x="266" y="81"/>
                    </a:lnTo>
                    <a:lnTo>
                      <a:pt x="273" y="92"/>
                    </a:lnTo>
                    <a:lnTo>
                      <a:pt x="278" y="104"/>
                    </a:lnTo>
                    <a:lnTo>
                      <a:pt x="284" y="116"/>
                    </a:lnTo>
                    <a:lnTo>
                      <a:pt x="286" y="128"/>
                    </a:lnTo>
                    <a:lnTo>
                      <a:pt x="289" y="141"/>
                    </a:lnTo>
                    <a:lnTo>
                      <a:pt x="289" y="156"/>
                    </a:lnTo>
                    <a:lnTo>
                      <a:pt x="289" y="156"/>
                    </a:lnTo>
                    <a:lnTo>
                      <a:pt x="289" y="170"/>
                    </a:lnTo>
                    <a:lnTo>
                      <a:pt x="286" y="183"/>
                    </a:lnTo>
                    <a:lnTo>
                      <a:pt x="284" y="195"/>
                    </a:lnTo>
                    <a:lnTo>
                      <a:pt x="278" y="208"/>
                    </a:lnTo>
                    <a:lnTo>
                      <a:pt x="273" y="219"/>
                    </a:lnTo>
                    <a:lnTo>
                      <a:pt x="266" y="231"/>
                    </a:lnTo>
                    <a:lnTo>
                      <a:pt x="258" y="241"/>
                    </a:lnTo>
                    <a:lnTo>
                      <a:pt x="250" y="250"/>
                    </a:lnTo>
                    <a:lnTo>
                      <a:pt x="241" y="260"/>
                    </a:lnTo>
                    <a:lnTo>
                      <a:pt x="230" y="268"/>
                    </a:lnTo>
                    <a:lnTo>
                      <a:pt x="219" y="274"/>
                    </a:lnTo>
                    <a:lnTo>
                      <a:pt x="207" y="280"/>
                    </a:lnTo>
                    <a:lnTo>
                      <a:pt x="195" y="284"/>
                    </a:lnTo>
                    <a:lnTo>
                      <a:pt x="182" y="288"/>
                    </a:lnTo>
                    <a:lnTo>
                      <a:pt x="168" y="289"/>
                    </a:lnTo>
                    <a:lnTo>
                      <a:pt x="155" y="290"/>
                    </a:lnTo>
                    <a:lnTo>
                      <a:pt x="15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4" name="Tijdelijke aanduiding voor voettekst 3"/>
          <p:cNvSpPr>
            <a:spLocks noGrp="1"/>
          </p:cNvSpPr>
          <p:nvPr>
            <p:ph type="ftr" sz="quarter" idx="15"/>
          </p:nvPr>
        </p:nvSpPr>
        <p:spPr/>
        <p:txBody>
          <a:bodyPr/>
          <a:lstStyle/>
          <a:p>
            <a:r>
              <a:rPr lang="nl-NL"/>
              <a:t>Behoefte functionele migratie SMZ</a:t>
            </a:r>
            <a:endParaRPr lang="en-GB" dirty="0"/>
          </a:p>
        </p:txBody>
      </p:sp>
      <p:sp>
        <p:nvSpPr>
          <p:cNvPr id="5" name="Tijdelijke aanduiding voor dianummer 4"/>
          <p:cNvSpPr>
            <a:spLocks noGrp="1"/>
          </p:cNvSpPr>
          <p:nvPr>
            <p:ph type="sldNum" sz="quarter" idx="16"/>
          </p:nvPr>
        </p:nvSpPr>
        <p:spPr/>
        <p:txBody>
          <a:bodyPr/>
          <a:lstStyle/>
          <a:p>
            <a:fld id="{EEC0F82C-4994-47DA-8D9B-99D78D224F6D}" type="slidenum">
              <a:rPr lang="en-GB" smtClean="0"/>
              <a:pPr/>
              <a:t>4</a:t>
            </a:fld>
            <a:endParaRPr lang="en-GB" dirty="0"/>
          </a:p>
        </p:txBody>
      </p:sp>
    </p:spTree>
    <p:extLst>
      <p:ext uri="{BB962C8B-B14F-4D97-AF65-F5344CB8AC3E}">
        <p14:creationId xmlns:p14="http://schemas.microsoft.com/office/powerpoint/2010/main" val="4119255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el 4"/>
          <p:cNvSpPr txBox="1">
            <a:spLocks/>
          </p:cNvSpPr>
          <p:nvPr/>
        </p:nvSpPr>
        <p:spPr bwMode="gray">
          <a:xfrm>
            <a:off x="571500" y="542166"/>
            <a:ext cx="11049000" cy="981834"/>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400" b="1" kern="1200">
                <a:solidFill>
                  <a:schemeClr val="tx2"/>
                </a:solidFill>
                <a:latin typeface="+mj-lt"/>
                <a:ea typeface="+mj-ea"/>
                <a:cs typeface="+mj-cs"/>
              </a:defRPr>
            </a:lvl1pPr>
          </a:lstStyle>
          <a:p>
            <a:pPr lvl="0">
              <a:defRPr/>
            </a:pPr>
            <a:r>
              <a:rPr lang="nl-NL" dirty="0">
                <a:solidFill>
                  <a:srgbClr val="003282"/>
                </a:solidFill>
              </a:rPr>
              <a:t>De informatie die SMZ wil ontvangen is integraal op objectniveau, eenduidig en AVG-compliant*</a:t>
            </a:r>
            <a:endParaRPr kumimoji="0" lang="nl-NL" sz="2400" b="1" i="0" u="none" strike="noStrike" kern="1200" cap="none" spc="0" normalizeH="0" baseline="0" noProof="0" dirty="0">
              <a:ln>
                <a:noFill/>
              </a:ln>
              <a:solidFill>
                <a:srgbClr val="003282"/>
              </a:solidFill>
              <a:effectLst/>
              <a:uLnTx/>
              <a:uFillTx/>
              <a:latin typeface="Verdana"/>
              <a:ea typeface="+mj-ea"/>
              <a:cs typeface="+mj-cs"/>
            </a:endParaRPr>
          </a:p>
        </p:txBody>
      </p:sp>
      <p:sp>
        <p:nvSpPr>
          <p:cNvPr id="31" name="Rechthoek 30"/>
          <p:cNvSpPr/>
          <p:nvPr/>
        </p:nvSpPr>
        <p:spPr>
          <a:xfrm>
            <a:off x="571499" y="288447"/>
            <a:ext cx="7200000" cy="19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all" spc="0" normalizeH="0" baseline="0" noProof="0" dirty="0">
                <a:ln>
                  <a:noFill/>
                </a:ln>
                <a:solidFill>
                  <a:srgbClr val="FFFFFF">
                    <a:lumMod val="85000"/>
                  </a:srgbClr>
                </a:solidFill>
                <a:effectLst/>
                <a:uLnTx/>
                <a:uFillTx/>
                <a:latin typeface="Verdana"/>
                <a:ea typeface="+mn-ea"/>
                <a:cs typeface="+mn-cs"/>
              </a:rPr>
              <a:t>Tactische behoefte (2/3)</a:t>
            </a:r>
          </a:p>
        </p:txBody>
      </p:sp>
      <p:sp>
        <p:nvSpPr>
          <p:cNvPr id="57" name="Rechthoek 56"/>
          <p:cNvSpPr/>
          <p:nvPr/>
        </p:nvSpPr>
        <p:spPr>
          <a:xfrm>
            <a:off x="1509204" y="1641600"/>
            <a:ext cx="10682796" cy="11807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Ovaal 57"/>
          <p:cNvSpPr/>
          <p:nvPr/>
        </p:nvSpPr>
        <p:spPr>
          <a:xfrm>
            <a:off x="923279" y="1641600"/>
            <a:ext cx="1065321" cy="118073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Rechthoek 58"/>
          <p:cNvSpPr/>
          <p:nvPr/>
        </p:nvSpPr>
        <p:spPr>
          <a:xfrm>
            <a:off x="1849639" y="1712621"/>
            <a:ext cx="9770861" cy="10386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400"/>
              </a:spcBef>
            </a:pPr>
            <a:r>
              <a:rPr lang="nl-NL" sz="1200" b="1" dirty="0">
                <a:solidFill>
                  <a:schemeClr val="tx1"/>
                </a:solidFill>
              </a:rPr>
              <a:t>Integraliteit</a:t>
            </a:r>
          </a:p>
          <a:p>
            <a:pPr marL="171450" indent="-171450">
              <a:spcBef>
                <a:spcPts val="400"/>
              </a:spcBef>
              <a:buFont typeface="Arial" panose="020B0604020202020204" pitchFamily="34" charset="0"/>
              <a:buChar char="•"/>
            </a:pPr>
            <a:r>
              <a:rPr lang="nl-NL" sz="1200" dirty="0">
                <a:solidFill>
                  <a:schemeClr val="tx1"/>
                </a:solidFill>
              </a:rPr>
              <a:t>Direct vanuit het DIM kunnen rapporteren over gegevens die vanuit verschillende bronnen komen en met elkaar worden gecombineerd en op die manier inzicht geven in de prestaties van SMZ</a:t>
            </a:r>
          </a:p>
          <a:p>
            <a:pPr marL="171450" indent="-171450">
              <a:spcBef>
                <a:spcPts val="400"/>
              </a:spcBef>
              <a:buFont typeface="Arial" panose="020B0604020202020204" pitchFamily="34" charset="0"/>
              <a:buChar char="•"/>
            </a:pPr>
            <a:r>
              <a:rPr lang="nl-NL" sz="1200" dirty="0">
                <a:solidFill>
                  <a:schemeClr val="tx1"/>
                </a:solidFill>
              </a:rPr>
              <a:t>Integratie op objectniveau</a:t>
            </a:r>
          </a:p>
        </p:txBody>
      </p:sp>
      <p:sp>
        <p:nvSpPr>
          <p:cNvPr id="26" name="Rechthoek 25"/>
          <p:cNvSpPr/>
          <p:nvPr/>
        </p:nvSpPr>
        <p:spPr>
          <a:xfrm>
            <a:off x="923279" y="6111351"/>
            <a:ext cx="6817591" cy="250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90488"/>
            <a:r>
              <a:rPr lang="nl-NL" sz="900" dirty="0">
                <a:solidFill>
                  <a:schemeClr val="tx1"/>
                </a:solidFill>
              </a:rPr>
              <a:t>* Cursieve teksten zijn wensen voor de “hoe” gebaseerd op knelpunten, en daarmee ontwikkelpunten, in de huidige wereld. In onze optiek eventuele invullingen voor de geformuleerde behoefte erboven. </a:t>
            </a:r>
          </a:p>
        </p:txBody>
      </p:sp>
      <p:sp>
        <p:nvSpPr>
          <p:cNvPr id="28" name="Rechthoek 27"/>
          <p:cNvSpPr/>
          <p:nvPr/>
        </p:nvSpPr>
        <p:spPr>
          <a:xfrm>
            <a:off x="1509204" y="2934582"/>
            <a:ext cx="10682796" cy="18760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al 28"/>
          <p:cNvSpPr/>
          <p:nvPr/>
        </p:nvSpPr>
        <p:spPr>
          <a:xfrm>
            <a:off x="923279" y="2934582"/>
            <a:ext cx="1065321" cy="187602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Rechthoek 31"/>
          <p:cNvSpPr/>
          <p:nvPr/>
        </p:nvSpPr>
        <p:spPr>
          <a:xfrm>
            <a:off x="1849639" y="3047425"/>
            <a:ext cx="9770861" cy="16503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400"/>
              </a:spcBef>
            </a:pPr>
            <a:r>
              <a:rPr lang="nl-NL" sz="1200" b="1" dirty="0">
                <a:solidFill>
                  <a:schemeClr val="tx1"/>
                </a:solidFill>
              </a:rPr>
              <a:t>Eenduidigheid</a:t>
            </a:r>
          </a:p>
          <a:p>
            <a:pPr marL="171450" indent="-171450">
              <a:spcBef>
                <a:spcPts val="400"/>
              </a:spcBef>
              <a:buFont typeface="Arial" panose="020B0604020202020204" pitchFamily="34" charset="0"/>
              <a:buChar char="•"/>
            </a:pPr>
            <a:r>
              <a:rPr lang="nl-NL" sz="1200" dirty="0">
                <a:solidFill>
                  <a:schemeClr val="tx1"/>
                </a:solidFill>
              </a:rPr>
              <a:t>Eenduidigheid/consistentie in de modellering voor uniformiteit van feiten, dimensies, metingen en gegevens</a:t>
            </a:r>
          </a:p>
          <a:p>
            <a:pPr marL="452438" lvl="1" indent="-271463">
              <a:spcBef>
                <a:spcPts val="400"/>
              </a:spcBef>
              <a:buFont typeface="Courier New" panose="02070309020205020404" pitchFamily="49" charset="0"/>
              <a:buChar char="o"/>
            </a:pPr>
            <a:r>
              <a:rPr lang="nl-NL" sz="1200" i="1" dirty="0">
                <a:solidFill>
                  <a:schemeClr val="tx1"/>
                </a:solidFill>
              </a:rPr>
              <a:t>Daarmee zoveel mogelijk integratie in de integratiezone zodat </a:t>
            </a:r>
            <a:r>
              <a:rPr lang="nl-NL" sz="1200" i="1" dirty="0" err="1">
                <a:solidFill>
                  <a:schemeClr val="tx1"/>
                </a:solidFill>
              </a:rPr>
              <a:t>datamarts</a:t>
            </a:r>
            <a:r>
              <a:rPr lang="nl-NL" sz="1200" i="1" dirty="0">
                <a:solidFill>
                  <a:schemeClr val="tx1"/>
                </a:solidFill>
              </a:rPr>
              <a:t> en vensters van dezelfde voeding uit gaan</a:t>
            </a:r>
          </a:p>
          <a:p>
            <a:pPr marL="452438" lvl="1" indent="-271463">
              <a:spcBef>
                <a:spcPts val="400"/>
              </a:spcBef>
              <a:buFont typeface="Courier New" panose="02070309020205020404" pitchFamily="49" charset="0"/>
              <a:buChar char="o"/>
            </a:pPr>
            <a:r>
              <a:rPr lang="nl-NL" sz="1200" i="1" dirty="0">
                <a:solidFill>
                  <a:schemeClr val="tx1"/>
                </a:solidFill>
              </a:rPr>
              <a:t>Daarmee een onderscheid tussen feiten en dimensies in de modellering</a:t>
            </a:r>
          </a:p>
          <a:p>
            <a:pPr marL="171450" indent="-171450">
              <a:spcBef>
                <a:spcPts val="400"/>
              </a:spcBef>
              <a:buFont typeface="Arial" panose="020B0604020202020204" pitchFamily="34" charset="0"/>
              <a:buChar char="•"/>
            </a:pPr>
            <a:r>
              <a:rPr lang="nl-NL" sz="1200" dirty="0">
                <a:solidFill>
                  <a:schemeClr val="tx1"/>
                </a:solidFill>
              </a:rPr>
              <a:t>Gegevens, feiten, metingen en dimensies wijzigingen niet met terugwerkende kracht</a:t>
            </a:r>
          </a:p>
          <a:p>
            <a:pPr marL="171450" indent="-171450">
              <a:spcBef>
                <a:spcPts val="400"/>
              </a:spcBef>
              <a:buFont typeface="Arial" panose="020B0604020202020204" pitchFamily="34" charset="0"/>
              <a:buChar char="•"/>
            </a:pPr>
            <a:r>
              <a:rPr lang="nl-NL" sz="1200" dirty="0">
                <a:solidFill>
                  <a:schemeClr val="tx1"/>
                </a:solidFill>
              </a:rPr>
              <a:t>Historie moet zodanig zijn opgeslagen in het DIM dat deze ongewijzigd kan worden gereproduceerd voor de geldende bewaartermijnen</a:t>
            </a:r>
          </a:p>
        </p:txBody>
      </p:sp>
      <p:sp>
        <p:nvSpPr>
          <p:cNvPr id="39" name="Rechthoek 38"/>
          <p:cNvSpPr/>
          <p:nvPr/>
        </p:nvSpPr>
        <p:spPr>
          <a:xfrm>
            <a:off x="1509204" y="4922856"/>
            <a:ext cx="10682796" cy="10778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al 39"/>
          <p:cNvSpPr/>
          <p:nvPr/>
        </p:nvSpPr>
        <p:spPr>
          <a:xfrm>
            <a:off x="923279" y="4922856"/>
            <a:ext cx="1065321" cy="107789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Rechthoek 40"/>
          <p:cNvSpPr/>
          <p:nvPr/>
        </p:nvSpPr>
        <p:spPr>
          <a:xfrm>
            <a:off x="1849639" y="4987691"/>
            <a:ext cx="9770861" cy="9482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400"/>
              </a:spcBef>
            </a:pPr>
            <a:r>
              <a:rPr lang="nl-NL" sz="1200" b="1" dirty="0">
                <a:solidFill>
                  <a:schemeClr val="tx1"/>
                </a:solidFill>
              </a:rPr>
              <a:t>AVG</a:t>
            </a:r>
          </a:p>
          <a:p>
            <a:pPr marL="171450" indent="-171450">
              <a:spcBef>
                <a:spcPts val="400"/>
              </a:spcBef>
              <a:buFont typeface="Arial" panose="020B0604020202020204" pitchFamily="34" charset="0"/>
              <a:buChar char="•"/>
            </a:pPr>
            <a:r>
              <a:rPr lang="nl-NL" sz="1200" dirty="0">
                <a:solidFill>
                  <a:schemeClr val="tx1"/>
                </a:solidFill>
              </a:rPr>
              <a:t>Inrichting DIM volgens privacy </a:t>
            </a:r>
            <a:r>
              <a:rPr lang="nl-NL" sz="1200" dirty="0" err="1">
                <a:solidFill>
                  <a:schemeClr val="tx1"/>
                </a:solidFill>
              </a:rPr>
              <a:t>by</a:t>
            </a:r>
            <a:r>
              <a:rPr lang="nl-NL" sz="1200" dirty="0">
                <a:solidFill>
                  <a:schemeClr val="tx1"/>
                </a:solidFill>
              </a:rPr>
              <a:t> design</a:t>
            </a:r>
          </a:p>
        </p:txBody>
      </p:sp>
      <p:sp>
        <p:nvSpPr>
          <p:cNvPr id="46" name="Freeform 218"/>
          <p:cNvSpPr>
            <a:spLocks noEditPoints="1"/>
          </p:cNvSpPr>
          <p:nvPr/>
        </p:nvSpPr>
        <p:spPr bwMode="auto">
          <a:xfrm>
            <a:off x="1221838" y="3647961"/>
            <a:ext cx="394495" cy="449262"/>
          </a:xfrm>
          <a:custGeom>
            <a:avLst/>
            <a:gdLst>
              <a:gd name="T0" fmla="*/ 295 w 296"/>
              <a:gd name="T1" fmla="*/ 153 h 324"/>
              <a:gd name="T2" fmla="*/ 283 w 296"/>
              <a:gd name="T3" fmla="*/ 114 h 324"/>
              <a:gd name="T4" fmla="*/ 263 w 296"/>
              <a:gd name="T5" fmla="*/ 87 h 324"/>
              <a:gd name="T6" fmla="*/ 245 w 296"/>
              <a:gd name="T7" fmla="*/ 72 h 324"/>
              <a:gd name="T8" fmla="*/ 210 w 296"/>
              <a:gd name="T9" fmla="*/ 59 h 324"/>
              <a:gd name="T10" fmla="*/ 173 w 296"/>
              <a:gd name="T11" fmla="*/ 59 h 324"/>
              <a:gd name="T12" fmla="*/ 163 w 296"/>
              <a:gd name="T13" fmla="*/ 51 h 324"/>
              <a:gd name="T14" fmla="*/ 180 w 296"/>
              <a:gd name="T15" fmla="*/ 27 h 324"/>
              <a:gd name="T16" fmla="*/ 197 w 296"/>
              <a:gd name="T17" fmla="*/ 16 h 324"/>
              <a:gd name="T18" fmla="*/ 201 w 296"/>
              <a:gd name="T19" fmla="*/ 8 h 324"/>
              <a:gd name="T20" fmla="*/ 198 w 296"/>
              <a:gd name="T21" fmla="*/ 3 h 324"/>
              <a:gd name="T22" fmla="*/ 189 w 296"/>
              <a:gd name="T23" fmla="*/ 1 h 324"/>
              <a:gd name="T24" fmla="*/ 177 w 296"/>
              <a:gd name="T25" fmla="*/ 9 h 324"/>
              <a:gd name="T26" fmla="*/ 154 w 296"/>
              <a:gd name="T27" fmla="*/ 35 h 324"/>
              <a:gd name="T28" fmla="*/ 143 w 296"/>
              <a:gd name="T29" fmla="*/ 62 h 324"/>
              <a:gd name="T30" fmla="*/ 131 w 296"/>
              <a:gd name="T31" fmla="*/ 43 h 324"/>
              <a:gd name="T32" fmla="*/ 106 w 296"/>
              <a:gd name="T33" fmla="*/ 27 h 324"/>
              <a:gd name="T34" fmla="*/ 80 w 296"/>
              <a:gd name="T35" fmla="*/ 21 h 324"/>
              <a:gd name="T36" fmla="*/ 76 w 296"/>
              <a:gd name="T37" fmla="*/ 23 h 324"/>
              <a:gd name="T38" fmla="*/ 75 w 296"/>
              <a:gd name="T39" fmla="*/ 27 h 324"/>
              <a:gd name="T40" fmla="*/ 79 w 296"/>
              <a:gd name="T41" fmla="*/ 48 h 324"/>
              <a:gd name="T42" fmla="*/ 72 w 296"/>
              <a:gd name="T43" fmla="*/ 63 h 324"/>
              <a:gd name="T44" fmla="*/ 39 w 296"/>
              <a:gd name="T45" fmla="*/ 80 h 324"/>
              <a:gd name="T46" fmla="*/ 25 w 296"/>
              <a:gd name="T47" fmla="*/ 95 h 324"/>
              <a:gd name="T48" fmla="*/ 8 w 296"/>
              <a:gd name="T49" fmla="*/ 126 h 324"/>
              <a:gd name="T50" fmla="*/ 0 w 296"/>
              <a:gd name="T51" fmla="*/ 168 h 324"/>
              <a:gd name="T52" fmla="*/ 2 w 296"/>
              <a:gd name="T53" fmla="*/ 197 h 324"/>
              <a:gd name="T54" fmla="*/ 24 w 296"/>
              <a:gd name="T55" fmla="*/ 250 h 324"/>
              <a:gd name="T56" fmla="*/ 78 w 296"/>
              <a:gd name="T57" fmla="*/ 311 h 324"/>
              <a:gd name="T58" fmla="*/ 99 w 296"/>
              <a:gd name="T59" fmla="*/ 322 h 324"/>
              <a:gd name="T60" fmla="*/ 129 w 296"/>
              <a:gd name="T61" fmla="*/ 321 h 324"/>
              <a:gd name="T62" fmla="*/ 147 w 296"/>
              <a:gd name="T63" fmla="*/ 314 h 324"/>
              <a:gd name="T64" fmla="*/ 173 w 296"/>
              <a:gd name="T65" fmla="*/ 322 h 324"/>
              <a:gd name="T66" fmla="*/ 193 w 296"/>
              <a:gd name="T67" fmla="*/ 322 h 324"/>
              <a:gd name="T68" fmla="*/ 217 w 296"/>
              <a:gd name="T69" fmla="*/ 311 h 324"/>
              <a:gd name="T70" fmla="*/ 257 w 296"/>
              <a:gd name="T71" fmla="*/ 270 h 324"/>
              <a:gd name="T72" fmla="*/ 288 w 296"/>
              <a:gd name="T73" fmla="*/ 213 h 324"/>
              <a:gd name="T74" fmla="*/ 296 w 296"/>
              <a:gd name="T75" fmla="*/ 168 h 324"/>
              <a:gd name="T76" fmla="*/ 123 w 296"/>
              <a:gd name="T77" fmla="*/ 50 h 324"/>
              <a:gd name="T78" fmla="*/ 141 w 296"/>
              <a:gd name="T79" fmla="*/ 79 h 324"/>
              <a:gd name="T80" fmla="*/ 134 w 296"/>
              <a:gd name="T81" fmla="*/ 86 h 324"/>
              <a:gd name="T82" fmla="*/ 104 w 296"/>
              <a:gd name="T83" fmla="*/ 70 h 324"/>
              <a:gd name="T84" fmla="*/ 91 w 296"/>
              <a:gd name="T85" fmla="*/ 50 h 324"/>
              <a:gd name="T86" fmla="*/ 86 w 296"/>
              <a:gd name="T87" fmla="*/ 32 h 324"/>
              <a:gd name="T88" fmla="*/ 114 w 296"/>
              <a:gd name="T89" fmla="*/ 42 h 324"/>
              <a:gd name="T90" fmla="*/ 205 w 296"/>
              <a:gd name="T91" fmla="*/ 114 h 324"/>
              <a:gd name="T92" fmla="*/ 178 w 296"/>
              <a:gd name="T93" fmla="*/ 130 h 324"/>
              <a:gd name="T94" fmla="*/ 153 w 296"/>
              <a:gd name="T95" fmla="*/ 138 h 324"/>
              <a:gd name="T96" fmla="*/ 133 w 296"/>
              <a:gd name="T97" fmla="*/ 138 h 324"/>
              <a:gd name="T98" fmla="*/ 106 w 296"/>
              <a:gd name="T99" fmla="*/ 130 h 324"/>
              <a:gd name="T100" fmla="*/ 80 w 296"/>
              <a:gd name="T101" fmla="*/ 114 h 324"/>
              <a:gd name="T102" fmla="*/ 78 w 296"/>
              <a:gd name="T103" fmla="*/ 106 h 324"/>
              <a:gd name="T104" fmla="*/ 80 w 296"/>
              <a:gd name="T105" fmla="*/ 102 h 324"/>
              <a:gd name="T106" fmla="*/ 88 w 296"/>
              <a:gd name="T107" fmla="*/ 102 h 324"/>
              <a:gd name="T108" fmla="*/ 111 w 296"/>
              <a:gd name="T109" fmla="*/ 117 h 324"/>
              <a:gd name="T110" fmla="*/ 142 w 296"/>
              <a:gd name="T111" fmla="*/ 123 h 324"/>
              <a:gd name="T112" fmla="*/ 159 w 296"/>
              <a:gd name="T113" fmla="*/ 121 h 324"/>
              <a:gd name="T114" fmla="*/ 197 w 296"/>
              <a:gd name="T115" fmla="*/ 102 h 324"/>
              <a:gd name="T116" fmla="*/ 201 w 296"/>
              <a:gd name="T117" fmla="*/ 101 h 324"/>
              <a:gd name="T118" fmla="*/ 206 w 296"/>
              <a:gd name="T119" fmla="*/ 103 h 324"/>
              <a:gd name="T120" fmla="*/ 206 w 296"/>
              <a:gd name="T121" fmla="*/ 11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6" h="324">
                <a:moveTo>
                  <a:pt x="296" y="168"/>
                </a:moveTo>
                <a:lnTo>
                  <a:pt x="296" y="168"/>
                </a:lnTo>
                <a:lnTo>
                  <a:pt x="295" y="153"/>
                </a:lnTo>
                <a:lnTo>
                  <a:pt x="292" y="140"/>
                </a:lnTo>
                <a:lnTo>
                  <a:pt x="288" y="126"/>
                </a:lnTo>
                <a:lnTo>
                  <a:pt x="283" y="114"/>
                </a:lnTo>
                <a:lnTo>
                  <a:pt x="276" y="105"/>
                </a:lnTo>
                <a:lnTo>
                  <a:pt x="271" y="95"/>
                </a:lnTo>
                <a:lnTo>
                  <a:pt x="263" y="87"/>
                </a:lnTo>
                <a:lnTo>
                  <a:pt x="256" y="80"/>
                </a:lnTo>
                <a:lnTo>
                  <a:pt x="256" y="80"/>
                </a:lnTo>
                <a:lnTo>
                  <a:pt x="245" y="72"/>
                </a:lnTo>
                <a:lnTo>
                  <a:pt x="235" y="67"/>
                </a:lnTo>
                <a:lnTo>
                  <a:pt x="223" y="63"/>
                </a:lnTo>
                <a:lnTo>
                  <a:pt x="210" y="59"/>
                </a:lnTo>
                <a:lnTo>
                  <a:pt x="198" y="58"/>
                </a:lnTo>
                <a:lnTo>
                  <a:pt x="186" y="58"/>
                </a:lnTo>
                <a:lnTo>
                  <a:pt x="173" y="59"/>
                </a:lnTo>
                <a:lnTo>
                  <a:pt x="159" y="62"/>
                </a:lnTo>
                <a:lnTo>
                  <a:pt x="159" y="62"/>
                </a:lnTo>
                <a:lnTo>
                  <a:pt x="163" y="51"/>
                </a:lnTo>
                <a:lnTo>
                  <a:pt x="169" y="42"/>
                </a:lnTo>
                <a:lnTo>
                  <a:pt x="174" y="33"/>
                </a:lnTo>
                <a:lnTo>
                  <a:pt x="180" y="27"/>
                </a:lnTo>
                <a:lnTo>
                  <a:pt x="192" y="19"/>
                </a:lnTo>
                <a:lnTo>
                  <a:pt x="197" y="16"/>
                </a:lnTo>
                <a:lnTo>
                  <a:pt x="197" y="16"/>
                </a:lnTo>
                <a:lnTo>
                  <a:pt x="200" y="13"/>
                </a:lnTo>
                <a:lnTo>
                  <a:pt x="201" y="11"/>
                </a:lnTo>
                <a:lnTo>
                  <a:pt x="201" y="8"/>
                </a:lnTo>
                <a:lnTo>
                  <a:pt x="200" y="5"/>
                </a:lnTo>
                <a:lnTo>
                  <a:pt x="200" y="5"/>
                </a:lnTo>
                <a:lnTo>
                  <a:pt x="198" y="3"/>
                </a:lnTo>
                <a:lnTo>
                  <a:pt x="196" y="1"/>
                </a:lnTo>
                <a:lnTo>
                  <a:pt x="193" y="0"/>
                </a:lnTo>
                <a:lnTo>
                  <a:pt x="189" y="1"/>
                </a:lnTo>
                <a:lnTo>
                  <a:pt x="189" y="1"/>
                </a:lnTo>
                <a:lnTo>
                  <a:pt x="182" y="5"/>
                </a:lnTo>
                <a:lnTo>
                  <a:pt x="177" y="9"/>
                </a:lnTo>
                <a:lnTo>
                  <a:pt x="169" y="16"/>
                </a:lnTo>
                <a:lnTo>
                  <a:pt x="161" y="24"/>
                </a:lnTo>
                <a:lnTo>
                  <a:pt x="154" y="35"/>
                </a:lnTo>
                <a:lnTo>
                  <a:pt x="147" y="47"/>
                </a:lnTo>
                <a:lnTo>
                  <a:pt x="143" y="62"/>
                </a:lnTo>
                <a:lnTo>
                  <a:pt x="143" y="62"/>
                </a:lnTo>
                <a:lnTo>
                  <a:pt x="138" y="52"/>
                </a:lnTo>
                <a:lnTo>
                  <a:pt x="131" y="43"/>
                </a:lnTo>
                <a:lnTo>
                  <a:pt x="131" y="43"/>
                </a:lnTo>
                <a:lnTo>
                  <a:pt x="123" y="36"/>
                </a:lnTo>
                <a:lnTo>
                  <a:pt x="115" y="31"/>
                </a:lnTo>
                <a:lnTo>
                  <a:pt x="106" y="27"/>
                </a:lnTo>
                <a:lnTo>
                  <a:pt x="99" y="24"/>
                </a:lnTo>
                <a:lnTo>
                  <a:pt x="86" y="21"/>
                </a:lnTo>
                <a:lnTo>
                  <a:pt x="80" y="21"/>
                </a:lnTo>
                <a:lnTo>
                  <a:pt x="80" y="21"/>
                </a:lnTo>
                <a:lnTo>
                  <a:pt x="78" y="21"/>
                </a:lnTo>
                <a:lnTo>
                  <a:pt x="76" y="23"/>
                </a:lnTo>
                <a:lnTo>
                  <a:pt x="76" y="23"/>
                </a:lnTo>
                <a:lnTo>
                  <a:pt x="75" y="24"/>
                </a:lnTo>
                <a:lnTo>
                  <a:pt x="75" y="27"/>
                </a:lnTo>
                <a:lnTo>
                  <a:pt x="75" y="27"/>
                </a:lnTo>
                <a:lnTo>
                  <a:pt x="76" y="37"/>
                </a:lnTo>
                <a:lnTo>
                  <a:pt x="79" y="48"/>
                </a:lnTo>
                <a:lnTo>
                  <a:pt x="84" y="59"/>
                </a:lnTo>
                <a:lnTo>
                  <a:pt x="84" y="59"/>
                </a:lnTo>
                <a:lnTo>
                  <a:pt x="72" y="63"/>
                </a:lnTo>
                <a:lnTo>
                  <a:pt x="60" y="67"/>
                </a:lnTo>
                <a:lnTo>
                  <a:pt x="49" y="74"/>
                </a:lnTo>
                <a:lnTo>
                  <a:pt x="39" y="80"/>
                </a:lnTo>
                <a:lnTo>
                  <a:pt x="39" y="80"/>
                </a:lnTo>
                <a:lnTo>
                  <a:pt x="32" y="87"/>
                </a:lnTo>
                <a:lnTo>
                  <a:pt x="25" y="95"/>
                </a:lnTo>
                <a:lnTo>
                  <a:pt x="18" y="105"/>
                </a:lnTo>
                <a:lnTo>
                  <a:pt x="12" y="114"/>
                </a:lnTo>
                <a:lnTo>
                  <a:pt x="8" y="126"/>
                </a:lnTo>
                <a:lnTo>
                  <a:pt x="4" y="140"/>
                </a:lnTo>
                <a:lnTo>
                  <a:pt x="1" y="153"/>
                </a:lnTo>
                <a:lnTo>
                  <a:pt x="0" y="168"/>
                </a:lnTo>
                <a:lnTo>
                  <a:pt x="0" y="168"/>
                </a:lnTo>
                <a:lnTo>
                  <a:pt x="0" y="181"/>
                </a:lnTo>
                <a:lnTo>
                  <a:pt x="2" y="197"/>
                </a:lnTo>
                <a:lnTo>
                  <a:pt x="6" y="213"/>
                </a:lnTo>
                <a:lnTo>
                  <a:pt x="13" y="231"/>
                </a:lnTo>
                <a:lnTo>
                  <a:pt x="24" y="250"/>
                </a:lnTo>
                <a:lnTo>
                  <a:pt x="37" y="270"/>
                </a:lnTo>
                <a:lnTo>
                  <a:pt x="56" y="290"/>
                </a:lnTo>
                <a:lnTo>
                  <a:pt x="78" y="311"/>
                </a:lnTo>
                <a:lnTo>
                  <a:pt x="78" y="311"/>
                </a:lnTo>
                <a:lnTo>
                  <a:pt x="88" y="318"/>
                </a:lnTo>
                <a:lnTo>
                  <a:pt x="99" y="322"/>
                </a:lnTo>
                <a:lnTo>
                  <a:pt x="108" y="324"/>
                </a:lnTo>
                <a:lnTo>
                  <a:pt x="119" y="322"/>
                </a:lnTo>
                <a:lnTo>
                  <a:pt x="129" y="321"/>
                </a:lnTo>
                <a:lnTo>
                  <a:pt x="137" y="318"/>
                </a:lnTo>
                <a:lnTo>
                  <a:pt x="147" y="314"/>
                </a:lnTo>
                <a:lnTo>
                  <a:pt x="147" y="314"/>
                </a:lnTo>
                <a:lnTo>
                  <a:pt x="153" y="317"/>
                </a:lnTo>
                <a:lnTo>
                  <a:pt x="162" y="320"/>
                </a:lnTo>
                <a:lnTo>
                  <a:pt x="173" y="322"/>
                </a:lnTo>
                <a:lnTo>
                  <a:pt x="185" y="324"/>
                </a:lnTo>
                <a:lnTo>
                  <a:pt x="185" y="324"/>
                </a:lnTo>
                <a:lnTo>
                  <a:pt x="193" y="322"/>
                </a:lnTo>
                <a:lnTo>
                  <a:pt x="201" y="321"/>
                </a:lnTo>
                <a:lnTo>
                  <a:pt x="209" y="317"/>
                </a:lnTo>
                <a:lnTo>
                  <a:pt x="217" y="311"/>
                </a:lnTo>
                <a:lnTo>
                  <a:pt x="217" y="311"/>
                </a:lnTo>
                <a:lnTo>
                  <a:pt x="240" y="290"/>
                </a:lnTo>
                <a:lnTo>
                  <a:pt x="257" y="270"/>
                </a:lnTo>
                <a:lnTo>
                  <a:pt x="271" y="250"/>
                </a:lnTo>
                <a:lnTo>
                  <a:pt x="282" y="231"/>
                </a:lnTo>
                <a:lnTo>
                  <a:pt x="288" y="213"/>
                </a:lnTo>
                <a:lnTo>
                  <a:pt x="292" y="197"/>
                </a:lnTo>
                <a:lnTo>
                  <a:pt x="295" y="181"/>
                </a:lnTo>
                <a:lnTo>
                  <a:pt x="296" y="168"/>
                </a:lnTo>
                <a:lnTo>
                  <a:pt x="296" y="168"/>
                </a:lnTo>
                <a:close/>
                <a:moveTo>
                  <a:pt x="123" y="50"/>
                </a:moveTo>
                <a:lnTo>
                  <a:pt x="123" y="50"/>
                </a:lnTo>
                <a:lnTo>
                  <a:pt x="131" y="60"/>
                </a:lnTo>
                <a:lnTo>
                  <a:pt x="137" y="70"/>
                </a:lnTo>
                <a:lnTo>
                  <a:pt x="141" y="79"/>
                </a:lnTo>
                <a:lnTo>
                  <a:pt x="142" y="87"/>
                </a:lnTo>
                <a:lnTo>
                  <a:pt x="142" y="87"/>
                </a:lnTo>
                <a:lnTo>
                  <a:pt x="134" y="86"/>
                </a:lnTo>
                <a:lnTo>
                  <a:pt x="125" y="82"/>
                </a:lnTo>
                <a:lnTo>
                  <a:pt x="114" y="76"/>
                </a:lnTo>
                <a:lnTo>
                  <a:pt x="104" y="70"/>
                </a:lnTo>
                <a:lnTo>
                  <a:pt x="104" y="70"/>
                </a:lnTo>
                <a:lnTo>
                  <a:pt x="96" y="60"/>
                </a:lnTo>
                <a:lnTo>
                  <a:pt x="91" y="50"/>
                </a:lnTo>
                <a:lnTo>
                  <a:pt x="87" y="40"/>
                </a:lnTo>
                <a:lnTo>
                  <a:pt x="86" y="32"/>
                </a:lnTo>
                <a:lnTo>
                  <a:pt x="86" y="32"/>
                </a:lnTo>
                <a:lnTo>
                  <a:pt x="94" y="33"/>
                </a:lnTo>
                <a:lnTo>
                  <a:pt x="103" y="37"/>
                </a:lnTo>
                <a:lnTo>
                  <a:pt x="114" y="42"/>
                </a:lnTo>
                <a:lnTo>
                  <a:pt x="123" y="50"/>
                </a:lnTo>
                <a:lnTo>
                  <a:pt x="123" y="50"/>
                </a:lnTo>
                <a:close/>
                <a:moveTo>
                  <a:pt x="205" y="114"/>
                </a:moveTo>
                <a:lnTo>
                  <a:pt x="205" y="114"/>
                </a:lnTo>
                <a:lnTo>
                  <a:pt x="193" y="123"/>
                </a:lnTo>
                <a:lnTo>
                  <a:pt x="178" y="130"/>
                </a:lnTo>
                <a:lnTo>
                  <a:pt x="170" y="134"/>
                </a:lnTo>
                <a:lnTo>
                  <a:pt x="162" y="137"/>
                </a:lnTo>
                <a:lnTo>
                  <a:pt x="153" y="138"/>
                </a:lnTo>
                <a:lnTo>
                  <a:pt x="142" y="138"/>
                </a:lnTo>
                <a:lnTo>
                  <a:pt x="142" y="138"/>
                </a:lnTo>
                <a:lnTo>
                  <a:pt x="133" y="138"/>
                </a:lnTo>
                <a:lnTo>
                  <a:pt x="123" y="137"/>
                </a:lnTo>
                <a:lnTo>
                  <a:pt x="114" y="134"/>
                </a:lnTo>
                <a:lnTo>
                  <a:pt x="106" y="130"/>
                </a:lnTo>
                <a:lnTo>
                  <a:pt x="91" y="123"/>
                </a:lnTo>
                <a:lnTo>
                  <a:pt x="80" y="114"/>
                </a:lnTo>
                <a:lnTo>
                  <a:pt x="80" y="114"/>
                </a:lnTo>
                <a:lnTo>
                  <a:pt x="79" y="113"/>
                </a:lnTo>
                <a:lnTo>
                  <a:pt x="78" y="110"/>
                </a:lnTo>
                <a:lnTo>
                  <a:pt x="78" y="106"/>
                </a:lnTo>
                <a:lnTo>
                  <a:pt x="79" y="103"/>
                </a:lnTo>
                <a:lnTo>
                  <a:pt x="79" y="103"/>
                </a:lnTo>
                <a:lnTo>
                  <a:pt x="80" y="102"/>
                </a:lnTo>
                <a:lnTo>
                  <a:pt x="83" y="101"/>
                </a:lnTo>
                <a:lnTo>
                  <a:pt x="86" y="101"/>
                </a:lnTo>
                <a:lnTo>
                  <a:pt x="88" y="102"/>
                </a:lnTo>
                <a:lnTo>
                  <a:pt x="88" y="102"/>
                </a:lnTo>
                <a:lnTo>
                  <a:pt x="99" y="110"/>
                </a:lnTo>
                <a:lnTo>
                  <a:pt x="111" y="117"/>
                </a:lnTo>
                <a:lnTo>
                  <a:pt x="126" y="121"/>
                </a:lnTo>
                <a:lnTo>
                  <a:pt x="134" y="122"/>
                </a:lnTo>
                <a:lnTo>
                  <a:pt x="142" y="123"/>
                </a:lnTo>
                <a:lnTo>
                  <a:pt x="142" y="123"/>
                </a:lnTo>
                <a:lnTo>
                  <a:pt x="151" y="122"/>
                </a:lnTo>
                <a:lnTo>
                  <a:pt x="159" y="121"/>
                </a:lnTo>
                <a:lnTo>
                  <a:pt x="174" y="117"/>
                </a:lnTo>
                <a:lnTo>
                  <a:pt x="186" y="110"/>
                </a:lnTo>
                <a:lnTo>
                  <a:pt x="197" y="102"/>
                </a:lnTo>
                <a:lnTo>
                  <a:pt x="197" y="102"/>
                </a:lnTo>
                <a:lnTo>
                  <a:pt x="198" y="101"/>
                </a:lnTo>
                <a:lnTo>
                  <a:pt x="201" y="101"/>
                </a:lnTo>
                <a:lnTo>
                  <a:pt x="204" y="102"/>
                </a:lnTo>
                <a:lnTo>
                  <a:pt x="206" y="103"/>
                </a:lnTo>
                <a:lnTo>
                  <a:pt x="206" y="103"/>
                </a:lnTo>
                <a:lnTo>
                  <a:pt x="208" y="106"/>
                </a:lnTo>
                <a:lnTo>
                  <a:pt x="208" y="110"/>
                </a:lnTo>
                <a:lnTo>
                  <a:pt x="206" y="113"/>
                </a:lnTo>
                <a:lnTo>
                  <a:pt x="205" y="114"/>
                </a:lnTo>
                <a:lnTo>
                  <a:pt x="205" y="1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10"/>
          <p:cNvSpPr>
            <a:spLocks noEditPoints="1"/>
          </p:cNvSpPr>
          <p:nvPr/>
        </p:nvSpPr>
        <p:spPr bwMode="auto">
          <a:xfrm>
            <a:off x="1155600" y="2074410"/>
            <a:ext cx="526971" cy="315110"/>
          </a:xfrm>
          <a:custGeom>
            <a:avLst/>
            <a:gdLst>
              <a:gd name="T0" fmla="*/ 278 w 372"/>
              <a:gd name="T1" fmla="*/ 10 h 184"/>
              <a:gd name="T2" fmla="*/ 247 w 372"/>
              <a:gd name="T3" fmla="*/ 51 h 184"/>
              <a:gd name="T4" fmla="*/ 225 w 372"/>
              <a:gd name="T5" fmla="*/ 15 h 184"/>
              <a:gd name="T6" fmla="*/ 185 w 372"/>
              <a:gd name="T7" fmla="*/ 0 h 184"/>
              <a:gd name="T8" fmla="*/ 138 w 372"/>
              <a:gd name="T9" fmla="*/ 23 h 184"/>
              <a:gd name="T10" fmla="*/ 120 w 372"/>
              <a:gd name="T11" fmla="*/ 42 h 184"/>
              <a:gd name="T12" fmla="*/ 84 w 372"/>
              <a:gd name="T13" fmla="*/ 4 h 184"/>
              <a:gd name="T14" fmla="*/ 38 w 372"/>
              <a:gd name="T15" fmla="*/ 6 h 184"/>
              <a:gd name="T16" fmla="*/ 1 w 372"/>
              <a:gd name="T17" fmla="*/ 51 h 184"/>
              <a:gd name="T18" fmla="*/ 9 w 372"/>
              <a:gd name="T19" fmla="*/ 97 h 184"/>
              <a:gd name="T20" fmla="*/ 59 w 372"/>
              <a:gd name="T21" fmla="*/ 126 h 184"/>
              <a:gd name="T22" fmla="*/ 77 w 372"/>
              <a:gd name="T23" fmla="*/ 168 h 184"/>
              <a:gd name="T24" fmla="*/ 120 w 372"/>
              <a:gd name="T25" fmla="*/ 184 h 184"/>
              <a:gd name="T26" fmla="*/ 171 w 372"/>
              <a:gd name="T27" fmla="*/ 159 h 184"/>
              <a:gd name="T28" fmla="*/ 188 w 372"/>
              <a:gd name="T29" fmla="*/ 126 h 184"/>
              <a:gd name="T30" fmla="*/ 206 w 372"/>
              <a:gd name="T31" fmla="*/ 168 h 184"/>
              <a:gd name="T32" fmla="*/ 249 w 372"/>
              <a:gd name="T33" fmla="*/ 184 h 184"/>
              <a:gd name="T34" fmla="*/ 300 w 372"/>
              <a:gd name="T35" fmla="*/ 159 h 184"/>
              <a:gd name="T36" fmla="*/ 325 w 372"/>
              <a:gd name="T37" fmla="*/ 124 h 184"/>
              <a:gd name="T38" fmla="*/ 366 w 372"/>
              <a:gd name="T39" fmla="*/ 87 h 184"/>
              <a:gd name="T40" fmla="*/ 366 w 372"/>
              <a:gd name="T41" fmla="*/ 39 h 184"/>
              <a:gd name="T42" fmla="*/ 322 w 372"/>
              <a:gd name="T43" fmla="*/ 1 h 184"/>
              <a:gd name="T44" fmla="*/ 98 w 372"/>
              <a:gd name="T45" fmla="*/ 65 h 184"/>
              <a:gd name="T46" fmla="*/ 67 w 372"/>
              <a:gd name="T47" fmla="*/ 90 h 184"/>
              <a:gd name="T48" fmla="*/ 44 w 372"/>
              <a:gd name="T49" fmla="*/ 102 h 184"/>
              <a:gd name="T50" fmla="*/ 20 w 372"/>
              <a:gd name="T51" fmla="*/ 71 h 184"/>
              <a:gd name="T52" fmla="*/ 26 w 372"/>
              <a:gd name="T53" fmla="*/ 39 h 184"/>
              <a:gd name="T54" fmla="*/ 63 w 372"/>
              <a:gd name="T55" fmla="*/ 20 h 184"/>
              <a:gd name="T56" fmla="*/ 92 w 372"/>
              <a:gd name="T57" fmla="*/ 32 h 184"/>
              <a:gd name="T58" fmla="*/ 106 w 372"/>
              <a:gd name="T59" fmla="*/ 62 h 184"/>
              <a:gd name="T60" fmla="*/ 157 w 372"/>
              <a:gd name="T61" fmla="*/ 147 h 184"/>
              <a:gd name="T62" fmla="*/ 120 w 372"/>
              <a:gd name="T63" fmla="*/ 165 h 184"/>
              <a:gd name="T64" fmla="*/ 91 w 372"/>
              <a:gd name="T65" fmla="*/ 153 h 184"/>
              <a:gd name="T66" fmla="*/ 77 w 372"/>
              <a:gd name="T67" fmla="*/ 124 h 184"/>
              <a:gd name="T68" fmla="*/ 112 w 372"/>
              <a:gd name="T69" fmla="*/ 101 h 184"/>
              <a:gd name="T70" fmla="*/ 124 w 372"/>
              <a:gd name="T71" fmla="*/ 79 h 184"/>
              <a:gd name="T72" fmla="*/ 139 w 372"/>
              <a:gd name="T73" fmla="*/ 105 h 184"/>
              <a:gd name="T74" fmla="*/ 163 w 372"/>
              <a:gd name="T75" fmla="*/ 122 h 184"/>
              <a:gd name="T76" fmla="*/ 209 w 372"/>
              <a:gd name="T77" fmla="*/ 74 h 184"/>
              <a:gd name="T78" fmla="*/ 189 w 372"/>
              <a:gd name="T79" fmla="*/ 106 h 184"/>
              <a:gd name="T80" fmla="*/ 176 w 372"/>
              <a:gd name="T81" fmla="*/ 92 h 184"/>
              <a:gd name="T82" fmla="*/ 150 w 372"/>
              <a:gd name="T83" fmla="*/ 66 h 184"/>
              <a:gd name="T84" fmla="*/ 150 w 372"/>
              <a:gd name="T85" fmla="*/ 39 h 184"/>
              <a:gd name="T86" fmla="*/ 185 w 372"/>
              <a:gd name="T87" fmla="*/ 20 h 184"/>
              <a:gd name="T88" fmla="*/ 216 w 372"/>
              <a:gd name="T89" fmla="*/ 32 h 184"/>
              <a:gd name="T90" fmla="*/ 228 w 372"/>
              <a:gd name="T91" fmla="*/ 63 h 184"/>
              <a:gd name="T92" fmla="*/ 284 w 372"/>
              <a:gd name="T93" fmla="*/ 147 h 184"/>
              <a:gd name="T94" fmla="*/ 249 w 372"/>
              <a:gd name="T95" fmla="*/ 165 h 184"/>
              <a:gd name="T96" fmla="*/ 220 w 372"/>
              <a:gd name="T97" fmla="*/ 152 h 184"/>
              <a:gd name="T98" fmla="*/ 208 w 372"/>
              <a:gd name="T99" fmla="*/ 122 h 184"/>
              <a:gd name="T100" fmla="*/ 236 w 372"/>
              <a:gd name="T101" fmla="*/ 100 h 184"/>
              <a:gd name="T102" fmla="*/ 248 w 372"/>
              <a:gd name="T103" fmla="*/ 79 h 184"/>
              <a:gd name="T104" fmla="*/ 264 w 372"/>
              <a:gd name="T105" fmla="*/ 108 h 184"/>
              <a:gd name="T106" fmla="*/ 292 w 372"/>
              <a:gd name="T107" fmla="*/ 124 h 184"/>
              <a:gd name="T108" fmla="*/ 345 w 372"/>
              <a:gd name="T109" fmla="*/ 86 h 184"/>
              <a:gd name="T110" fmla="*/ 311 w 372"/>
              <a:gd name="T111" fmla="*/ 106 h 184"/>
              <a:gd name="T112" fmla="*/ 294 w 372"/>
              <a:gd name="T113" fmla="*/ 78 h 184"/>
              <a:gd name="T114" fmla="*/ 266 w 372"/>
              <a:gd name="T115" fmla="*/ 62 h 184"/>
              <a:gd name="T116" fmla="*/ 286 w 372"/>
              <a:gd name="T117" fmla="*/ 27 h 184"/>
              <a:gd name="T118" fmla="*/ 318 w 372"/>
              <a:gd name="T119" fmla="*/ 22 h 184"/>
              <a:gd name="T120" fmla="*/ 349 w 372"/>
              <a:gd name="T121" fmla="*/ 4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2" h="184">
                <a:moveTo>
                  <a:pt x="308" y="0"/>
                </a:moveTo>
                <a:lnTo>
                  <a:pt x="308" y="0"/>
                </a:lnTo>
                <a:lnTo>
                  <a:pt x="298" y="1"/>
                </a:lnTo>
                <a:lnTo>
                  <a:pt x="287" y="4"/>
                </a:lnTo>
                <a:lnTo>
                  <a:pt x="278" y="10"/>
                </a:lnTo>
                <a:lnTo>
                  <a:pt x="268" y="15"/>
                </a:lnTo>
                <a:lnTo>
                  <a:pt x="261" y="23"/>
                </a:lnTo>
                <a:lnTo>
                  <a:pt x="255" y="31"/>
                </a:lnTo>
                <a:lnTo>
                  <a:pt x="249" y="40"/>
                </a:lnTo>
                <a:lnTo>
                  <a:pt x="247" y="51"/>
                </a:lnTo>
                <a:lnTo>
                  <a:pt x="247" y="51"/>
                </a:lnTo>
                <a:lnTo>
                  <a:pt x="244" y="40"/>
                </a:lnTo>
                <a:lnTo>
                  <a:pt x="240" y="31"/>
                </a:lnTo>
                <a:lnTo>
                  <a:pt x="233" y="23"/>
                </a:lnTo>
                <a:lnTo>
                  <a:pt x="225" y="15"/>
                </a:lnTo>
                <a:lnTo>
                  <a:pt x="217" y="10"/>
                </a:lnTo>
                <a:lnTo>
                  <a:pt x="208" y="4"/>
                </a:lnTo>
                <a:lnTo>
                  <a:pt x="197" y="1"/>
                </a:lnTo>
                <a:lnTo>
                  <a:pt x="185" y="0"/>
                </a:lnTo>
                <a:lnTo>
                  <a:pt x="185" y="0"/>
                </a:lnTo>
                <a:lnTo>
                  <a:pt x="174" y="1"/>
                </a:lnTo>
                <a:lnTo>
                  <a:pt x="163" y="4"/>
                </a:lnTo>
                <a:lnTo>
                  <a:pt x="154" y="10"/>
                </a:lnTo>
                <a:lnTo>
                  <a:pt x="146" y="15"/>
                </a:lnTo>
                <a:lnTo>
                  <a:pt x="138" y="23"/>
                </a:lnTo>
                <a:lnTo>
                  <a:pt x="131" y="31"/>
                </a:lnTo>
                <a:lnTo>
                  <a:pt x="127" y="42"/>
                </a:lnTo>
                <a:lnTo>
                  <a:pt x="124" y="51"/>
                </a:lnTo>
                <a:lnTo>
                  <a:pt x="124" y="51"/>
                </a:lnTo>
                <a:lnTo>
                  <a:pt x="120" y="42"/>
                </a:lnTo>
                <a:lnTo>
                  <a:pt x="116" y="31"/>
                </a:lnTo>
                <a:lnTo>
                  <a:pt x="110" y="23"/>
                </a:lnTo>
                <a:lnTo>
                  <a:pt x="103" y="15"/>
                </a:lnTo>
                <a:lnTo>
                  <a:pt x="94" y="10"/>
                </a:lnTo>
                <a:lnTo>
                  <a:pt x="84" y="4"/>
                </a:lnTo>
                <a:lnTo>
                  <a:pt x="73" y="1"/>
                </a:lnTo>
                <a:lnTo>
                  <a:pt x="63" y="0"/>
                </a:lnTo>
                <a:lnTo>
                  <a:pt x="63" y="0"/>
                </a:lnTo>
                <a:lnTo>
                  <a:pt x="49" y="1"/>
                </a:lnTo>
                <a:lnTo>
                  <a:pt x="38" y="6"/>
                </a:lnTo>
                <a:lnTo>
                  <a:pt x="28" y="11"/>
                </a:lnTo>
                <a:lnTo>
                  <a:pt x="18" y="19"/>
                </a:lnTo>
                <a:lnTo>
                  <a:pt x="10" y="28"/>
                </a:lnTo>
                <a:lnTo>
                  <a:pt x="5" y="39"/>
                </a:lnTo>
                <a:lnTo>
                  <a:pt x="1" y="51"/>
                </a:lnTo>
                <a:lnTo>
                  <a:pt x="0" y="63"/>
                </a:lnTo>
                <a:lnTo>
                  <a:pt x="0" y="63"/>
                </a:lnTo>
                <a:lnTo>
                  <a:pt x="1" y="75"/>
                </a:lnTo>
                <a:lnTo>
                  <a:pt x="4" y="87"/>
                </a:lnTo>
                <a:lnTo>
                  <a:pt x="9" y="97"/>
                </a:lnTo>
                <a:lnTo>
                  <a:pt x="17" y="106"/>
                </a:lnTo>
                <a:lnTo>
                  <a:pt x="25" y="114"/>
                </a:lnTo>
                <a:lnTo>
                  <a:pt x="36" y="120"/>
                </a:lnTo>
                <a:lnTo>
                  <a:pt x="47" y="124"/>
                </a:lnTo>
                <a:lnTo>
                  <a:pt x="59" y="126"/>
                </a:lnTo>
                <a:lnTo>
                  <a:pt x="59" y="126"/>
                </a:lnTo>
                <a:lnTo>
                  <a:pt x="60" y="139"/>
                </a:lnTo>
                <a:lnTo>
                  <a:pt x="64" y="149"/>
                </a:lnTo>
                <a:lnTo>
                  <a:pt x="71" y="159"/>
                </a:lnTo>
                <a:lnTo>
                  <a:pt x="77" y="168"/>
                </a:lnTo>
                <a:lnTo>
                  <a:pt x="87" y="175"/>
                </a:lnTo>
                <a:lnTo>
                  <a:pt x="98" y="180"/>
                </a:lnTo>
                <a:lnTo>
                  <a:pt x="108" y="184"/>
                </a:lnTo>
                <a:lnTo>
                  <a:pt x="120" y="184"/>
                </a:lnTo>
                <a:lnTo>
                  <a:pt x="120" y="184"/>
                </a:lnTo>
                <a:lnTo>
                  <a:pt x="133" y="184"/>
                </a:lnTo>
                <a:lnTo>
                  <a:pt x="145" y="180"/>
                </a:lnTo>
                <a:lnTo>
                  <a:pt x="155" y="175"/>
                </a:lnTo>
                <a:lnTo>
                  <a:pt x="163" y="168"/>
                </a:lnTo>
                <a:lnTo>
                  <a:pt x="171" y="159"/>
                </a:lnTo>
                <a:lnTo>
                  <a:pt x="177" y="149"/>
                </a:lnTo>
                <a:lnTo>
                  <a:pt x="181" y="139"/>
                </a:lnTo>
                <a:lnTo>
                  <a:pt x="184" y="126"/>
                </a:lnTo>
                <a:lnTo>
                  <a:pt x="184" y="126"/>
                </a:lnTo>
                <a:lnTo>
                  <a:pt x="188" y="126"/>
                </a:lnTo>
                <a:lnTo>
                  <a:pt x="188" y="126"/>
                </a:lnTo>
                <a:lnTo>
                  <a:pt x="189" y="139"/>
                </a:lnTo>
                <a:lnTo>
                  <a:pt x="193" y="149"/>
                </a:lnTo>
                <a:lnTo>
                  <a:pt x="200" y="159"/>
                </a:lnTo>
                <a:lnTo>
                  <a:pt x="206" y="168"/>
                </a:lnTo>
                <a:lnTo>
                  <a:pt x="216" y="175"/>
                </a:lnTo>
                <a:lnTo>
                  <a:pt x="227" y="180"/>
                </a:lnTo>
                <a:lnTo>
                  <a:pt x="237" y="184"/>
                </a:lnTo>
                <a:lnTo>
                  <a:pt x="249" y="184"/>
                </a:lnTo>
                <a:lnTo>
                  <a:pt x="249" y="184"/>
                </a:lnTo>
                <a:lnTo>
                  <a:pt x="263" y="184"/>
                </a:lnTo>
                <a:lnTo>
                  <a:pt x="274" y="180"/>
                </a:lnTo>
                <a:lnTo>
                  <a:pt x="284" y="175"/>
                </a:lnTo>
                <a:lnTo>
                  <a:pt x="292" y="168"/>
                </a:lnTo>
                <a:lnTo>
                  <a:pt x="300" y="159"/>
                </a:lnTo>
                <a:lnTo>
                  <a:pt x="307" y="149"/>
                </a:lnTo>
                <a:lnTo>
                  <a:pt x="311" y="139"/>
                </a:lnTo>
                <a:lnTo>
                  <a:pt x="313" y="126"/>
                </a:lnTo>
                <a:lnTo>
                  <a:pt x="313" y="126"/>
                </a:lnTo>
                <a:lnTo>
                  <a:pt x="325" y="124"/>
                </a:lnTo>
                <a:lnTo>
                  <a:pt x="335" y="120"/>
                </a:lnTo>
                <a:lnTo>
                  <a:pt x="346" y="114"/>
                </a:lnTo>
                <a:lnTo>
                  <a:pt x="354" y="106"/>
                </a:lnTo>
                <a:lnTo>
                  <a:pt x="361" y="97"/>
                </a:lnTo>
                <a:lnTo>
                  <a:pt x="366" y="87"/>
                </a:lnTo>
                <a:lnTo>
                  <a:pt x="370" y="75"/>
                </a:lnTo>
                <a:lnTo>
                  <a:pt x="372" y="63"/>
                </a:lnTo>
                <a:lnTo>
                  <a:pt x="372" y="63"/>
                </a:lnTo>
                <a:lnTo>
                  <a:pt x="370" y="51"/>
                </a:lnTo>
                <a:lnTo>
                  <a:pt x="366" y="39"/>
                </a:lnTo>
                <a:lnTo>
                  <a:pt x="361" y="28"/>
                </a:lnTo>
                <a:lnTo>
                  <a:pt x="353" y="19"/>
                </a:lnTo>
                <a:lnTo>
                  <a:pt x="343" y="11"/>
                </a:lnTo>
                <a:lnTo>
                  <a:pt x="333" y="6"/>
                </a:lnTo>
                <a:lnTo>
                  <a:pt x="322" y="1"/>
                </a:lnTo>
                <a:lnTo>
                  <a:pt x="308" y="0"/>
                </a:lnTo>
                <a:lnTo>
                  <a:pt x="308" y="0"/>
                </a:lnTo>
                <a:close/>
                <a:moveTo>
                  <a:pt x="106" y="62"/>
                </a:moveTo>
                <a:lnTo>
                  <a:pt x="106" y="62"/>
                </a:lnTo>
                <a:lnTo>
                  <a:pt x="98" y="65"/>
                </a:lnTo>
                <a:lnTo>
                  <a:pt x="90" y="67"/>
                </a:lnTo>
                <a:lnTo>
                  <a:pt x="83" y="73"/>
                </a:lnTo>
                <a:lnTo>
                  <a:pt x="76" y="78"/>
                </a:lnTo>
                <a:lnTo>
                  <a:pt x="71" y="83"/>
                </a:lnTo>
                <a:lnTo>
                  <a:pt x="67" y="90"/>
                </a:lnTo>
                <a:lnTo>
                  <a:pt x="63" y="98"/>
                </a:lnTo>
                <a:lnTo>
                  <a:pt x="60" y="106"/>
                </a:lnTo>
                <a:lnTo>
                  <a:pt x="60" y="106"/>
                </a:lnTo>
                <a:lnTo>
                  <a:pt x="52" y="105"/>
                </a:lnTo>
                <a:lnTo>
                  <a:pt x="44" y="102"/>
                </a:lnTo>
                <a:lnTo>
                  <a:pt x="37" y="98"/>
                </a:lnTo>
                <a:lnTo>
                  <a:pt x="32" y="93"/>
                </a:lnTo>
                <a:lnTo>
                  <a:pt x="26" y="86"/>
                </a:lnTo>
                <a:lnTo>
                  <a:pt x="22" y="79"/>
                </a:lnTo>
                <a:lnTo>
                  <a:pt x="20" y="71"/>
                </a:lnTo>
                <a:lnTo>
                  <a:pt x="20" y="63"/>
                </a:lnTo>
                <a:lnTo>
                  <a:pt x="20" y="63"/>
                </a:lnTo>
                <a:lnTo>
                  <a:pt x="20" y="55"/>
                </a:lnTo>
                <a:lnTo>
                  <a:pt x="22" y="47"/>
                </a:lnTo>
                <a:lnTo>
                  <a:pt x="26" y="39"/>
                </a:lnTo>
                <a:lnTo>
                  <a:pt x="32" y="32"/>
                </a:lnTo>
                <a:lnTo>
                  <a:pt x="38" y="28"/>
                </a:lnTo>
                <a:lnTo>
                  <a:pt x="45" y="24"/>
                </a:lnTo>
                <a:lnTo>
                  <a:pt x="53" y="22"/>
                </a:lnTo>
                <a:lnTo>
                  <a:pt x="63" y="20"/>
                </a:lnTo>
                <a:lnTo>
                  <a:pt x="63" y="20"/>
                </a:lnTo>
                <a:lnTo>
                  <a:pt x="71" y="22"/>
                </a:lnTo>
                <a:lnTo>
                  <a:pt x="79" y="23"/>
                </a:lnTo>
                <a:lnTo>
                  <a:pt x="86" y="27"/>
                </a:lnTo>
                <a:lnTo>
                  <a:pt x="92" y="32"/>
                </a:lnTo>
                <a:lnTo>
                  <a:pt x="98" y="38"/>
                </a:lnTo>
                <a:lnTo>
                  <a:pt x="102" y="46"/>
                </a:lnTo>
                <a:lnTo>
                  <a:pt x="104" y="53"/>
                </a:lnTo>
                <a:lnTo>
                  <a:pt x="106" y="62"/>
                </a:lnTo>
                <a:lnTo>
                  <a:pt x="106" y="62"/>
                </a:lnTo>
                <a:close/>
                <a:moveTo>
                  <a:pt x="163" y="122"/>
                </a:moveTo>
                <a:lnTo>
                  <a:pt x="163" y="122"/>
                </a:lnTo>
                <a:lnTo>
                  <a:pt x="163" y="130"/>
                </a:lnTo>
                <a:lnTo>
                  <a:pt x="161" y="139"/>
                </a:lnTo>
                <a:lnTo>
                  <a:pt x="157" y="147"/>
                </a:lnTo>
                <a:lnTo>
                  <a:pt x="151" y="152"/>
                </a:lnTo>
                <a:lnTo>
                  <a:pt x="145" y="157"/>
                </a:lnTo>
                <a:lnTo>
                  <a:pt x="138" y="161"/>
                </a:lnTo>
                <a:lnTo>
                  <a:pt x="130" y="164"/>
                </a:lnTo>
                <a:lnTo>
                  <a:pt x="120" y="165"/>
                </a:lnTo>
                <a:lnTo>
                  <a:pt x="120" y="165"/>
                </a:lnTo>
                <a:lnTo>
                  <a:pt x="112" y="164"/>
                </a:lnTo>
                <a:lnTo>
                  <a:pt x="104" y="161"/>
                </a:lnTo>
                <a:lnTo>
                  <a:pt x="98" y="159"/>
                </a:lnTo>
                <a:lnTo>
                  <a:pt x="91" y="153"/>
                </a:lnTo>
                <a:lnTo>
                  <a:pt x="86" y="147"/>
                </a:lnTo>
                <a:lnTo>
                  <a:pt x="81" y="140"/>
                </a:lnTo>
                <a:lnTo>
                  <a:pt x="79" y="132"/>
                </a:lnTo>
                <a:lnTo>
                  <a:pt x="77" y="124"/>
                </a:lnTo>
                <a:lnTo>
                  <a:pt x="77" y="124"/>
                </a:lnTo>
                <a:lnTo>
                  <a:pt x="86" y="121"/>
                </a:lnTo>
                <a:lnTo>
                  <a:pt x="94" y="118"/>
                </a:lnTo>
                <a:lnTo>
                  <a:pt x="100" y="113"/>
                </a:lnTo>
                <a:lnTo>
                  <a:pt x="107" y="108"/>
                </a:lnTo>
                <a:lnTo>
                  <a:pt x="112" y="101"/>
                </a:lnTo>
                <a:lnTo>
                  <a:pt x="116" y="94"/>
                </a:lnTo>
                <a:lnTo>
                  <a:pt x="120" y="87"/>
                </a:lnTo>
                <a:lnTo>
                  <a:pt x="123" y="79"/>
                </a:lnTo>
                <a:lnTo>
                  <a:pt x="123" y="79"/>
                </a:lnTo>
                <a:lnTo>
                  <a:pt x="124" y="79"/>
                </a:lnTo>
                <a:lnTo>
                  <a:pt x="124" y="79"/>
                </a:lnTo>
                <a:lnTo>
                  <a:pt x="127" y="86"/>
                </a:lnTo>
                <a:lnTo>
                  <a:pt x="130" y="93"/>
                </a:lnTo>
                <a:lnTo>
                  <a:pt x="134" y="100"/>
                </a:lnTo>
                <a:lnTo>
                  <a:pt x="139" y="105"/>
                </a:lnTo>
                <a:lnTo>
                  <a:pt x="145" y="110"/>
                </a:lnTo>
                <a:lnTo>
                  <a:pt x="150" y="116"/>
                </a:lnTo>
                <a:lnTo>
                  <a:pt x="157" y="120"/>
                </a:lnTo>
                <a:lnTo>
                  <a:pt x="163" y="122"/>
                </a:lnTo>
                <a:lnTo>
                  <a:pt x="163" y="122"/>
                </a:lnTo>
                <a:close/>
                <a:moveTo>
                  <a:pt x="228" y="63"/>
                </a:moveTo>
                <a:lnTo>
                  <a:pt x="228" y="63"/>
                </a:lnTo>
                <a:lnTo>
                  <a:pt x="221" y="66"/>
                </a:lnTo>
                <a:lnTo>
                  <a:pt x="214" y="70"/>
                </a:lnTo>
                <a:lnTo>
                  <a:pt x="209" y="74"/>
                </a:lnTo>
                <a:lnTo>
                  <a:pt x="204" y="79"/>
                </a:lnTo>
                <a:lnTo>
                  <a:pt x="198" y="86"/>
                </a:lnTo>
                <a:lnTo>
                  <a:pt x="196" y="92"/>
                </a:lnTo>
                <a:lnTo>
                  <a:pt x="192" y="98"/>
                </a:lnTo>
                <a:lnTo>
                  <a:pt x="189" y="106"/>
                </a:lnTo>
                <a:lnTo>
                  <a:pt x="189" y="106"/>
                </a:lnTo>
                <a:lnTo>
                  <a:pt x="181" y="106"/>
                </a:lnTo>
                <a:lnTo>
                  <a:pt x="181" y="106"/>
                </a:lnTo>
                <a:lnTo>
                  <a:pt x="180" y="98"/>
                </a:lnTo>
                <a:lnTo>
                  <a:pt x="176" y="92"/>
                </a:lnTo>
                <a:lnTo>
                  <a:pt x="171" y="86"/>
                </a:lnTo>
                <a:lnTo>
                  <a:pt x="167" y="79"/>
                </a:lnTo>
                <a:lnTo>
                  <a:pt x="162" y="74"/>
                </a:lnTo>
                <a:lnTo>
                  <a:pt x="155" y="70"/>
                </a:lnTo>
                <a:lnTo>
                  <a:pt x="150" y="66"/>
                </a:lnTo>
                <a:lnTo>
                  <a:pt x="142" y="63"/>
                </a:lnTo>
                <a:lnTo>
                  <a:pt x="142" y="63"/>
                </a:lnTo>
                <a:lnTo>
                  <a:pt x="143" y="55"/>
                </a:lnTo>
                <a:lnTo>
                  <a:pt x="146" y="47"/>
                </a:lnTo>
                <a:lnTo>
                  <a:pt x="150" y="39"/>
                </a:lnTo>
                <a:lnTo>
                  <a:pt x="155" y="32"/>
                </a:lnTo>
                <a:lnTo>
                  <a:pt x="162" y="28"/>
                </a:lnTo>
                <a:lnTo>
                  <a:pt x="169" y="24"/>
                </a:lnTo>
                <a:lnTo>
                  <a:pt x="177" y="22"/>
                </a:lnTo>
                <a:lnTo>
                  <a:pt x="185" y="20"/>
                </a:lnTo>
                <a:lnTo>
                  <a:pt x="185" y="20"/>
                </a:lnTo>
                <a:lnTo>
                  <a:pt x="194" y="22"/>
                </a:lnTo>
                <a:lnTo>
                  <a:pt x="202" y="24"/>
                </a:lnTo>
                <a:lnTo>
                  <a:pt x="209" y="28"/>
                </a:lnTo>
                <a:lnTo>
                  <a:pt x="216" y="32"/>
                </a:lnTo>
                <a:lnTo>
                  <a:pt x="221" y="39"/>
                </a:lnTo>
                <a:lnTo>
                  <a:pt x="225" y="47"/>
                </a:lnTo>
                <a:lnTo>
                  <a:pt x="228" y="55"/>
                </a:lnTo>
                <a:lnTo>
                  <a:pt x="228" y="63"/>
                </a:lnTo>
                <a:lnTo>
                  <a:pt x="228" y="63"/>
                </a:lnTo>
                <a:close/>
                <a:moveTo>
                  <a:pt x="292" y="124"/>
                </a:moveTo>
                <a:lnTo>
                  <a:pt x="292" y="124"/>
                </a:lnTo>
                <a:lnTo>
                  <a:pt x="291" y="132"/>
                </a:lnTo>
                <a:lnTo>
                  <a:pt x="288" y="140"/>
                </a:lnTo>
                <a:lnTo>
                  <a:pt x="284" y="147"/>
                </a:lnTo>
                <a:lnTo>
                  <a:pt x="280" y="153"/>
                </a:lnTo>
                <a:lnTo>
                  <a:pt x="274" y="157"/>
                </a:lnTo>
                <a:lnTo>
                  <a:pt x="267" y="161"/>
                </a:lnTo>
                <a:lnTo>
                  <a:pt x="259" y="164"/>
                </a:lnTo>
                <a:lnTo>
                  <a:pt x="249" y="165"/>
                </a:lnTo>
                <a:lnTo>
                  <a:pt x="249" y="165"/>
                </a:lnTo>
                <a:lnTo>
                  <a:pt x="241" y="164"/>
                </a:lnTo>
                <a:lnTo>
                  <a:pt x="233" y="161"/>
                </a:lnTo>
                <a:lnTo>
                  <a:pt x="227" y="157"/>
                </a:lnTo>
                <a:lnTo>
                  <a:pt x="220" y="152"/>
                </a:lnTo>
                <a:lnTo>
                  <a:pt x="214" y="147"/>
                </a:lnTo>
                <a:lnTo>
                  <a:pt x="210" y="139"/>
                </a:lnTo>
                <a:lnTo>
                  <a:pt x="208" y="130"/>
                </a:lnTo>
                <a:lnTo>
                  <a:pt x="208" y="122"/>
                </a:lnTo>
                <a:lnTo>
                  <a:pt x="208" y="122"/>
                </a:lnTo>
                <a:lnTo>
                  <a:pt x="214" y="120"/>
                </a:lnTo>
                <a:lnTo>
                  <a:pt x="221" y="116"/>
                </a:lnTo>
                <a:lnTo>
                  <a:pt x="227" y="110"/>
                </a:lnTo>
                <a:lnTo>
                  <a:pt x="232" y="105"/>
                </a:lnTo>
                <a:lnTo>
                  <a:pt x="236" y="100"/>
                </a:lnTo>
                <a:lnTo>
                  <a:pt x="240" y="93"/>
                </a:lnTo>
                <a:lnTo>
                  <a:pt x="244" y="86"/>
                </a:lnTo>
                <a:lnTo>
                  <a:pt x="247" y="79"/>
                </a:lnTo>
                <a:lnTo>
                  <a:pt x="247" y="79"/>
                </a:lnTo>
                <a:lnTo>
                  <a:pt x="248" y="79"/>
                </a:lnTo>
                <a:lnTo>
                  <a:pt x="248" y="79"/>
                </a:lnTo>
                <a:lnTo>
                  <a:pt x="251" y="87"/>
                </a:lnTo>
                <a:lnTo>
                  <a:pt x="255" y="94"/>
                </a:lnTo>
                <a:lnTo>
                  <a:pt x="259" y="101"/>
                </a:lnTo>
                <a:lnTo>
                  <a:pt x="264" y="108"/>
                </a:lnTo>
                <a:lnTo>
                  <a:pt x="271" y="113"/>
                </a:lnTo>
                <a:lnTo>
                  <a:pt x="278" y="118"/>
                </a:lnTo>
                <a:lnTo>
                  <a:pt x="284" y="121"/>
                </a:lnTo>
                <a:lnTo>
                  <a:pt x="292" y="124"/>
                </a:lnTo>
                <a:lnTo>
                  <a:pt x="292" y="124"/>
                </a:lnTo>
                <a:close/>
                <a:moveTo>
                  <a:pt x="351" y="63"/>
                </a:moveTo>
                <a:lnTo>
                  <a:pt x="351" y="63"/>
                </a:lnTo>
                <a:lnTo>
                  <a:pt x="350" y="71"/>
                </a:lnTo>
                <a:lnTo>
                  <a:pt x="349" y="79"/>
                </a:lnTo>
                <a:lnTo>
                  <a:pt x="345" y="86"/>
                </a:lnTo>
                <a:lnTo>
                  <a:pt x="339" y="93"/>
                </a:lnTo>
                <a:lnTo>
                  <a:pt x="334" y="98"/>
                </a:lnTo>
                <a:lnTo>
                  <a:pt x="327" y="102"/>
                </a:lnTo>
                <a:lnTo>
                  <a:pt x="319" y="105"/>
                </a:lnTo>
                <a:lnTo>
                  <a:pt x="311" y="106"/>
                </a:lnTo>
                <a:lnTo>
                  <a:pt x="311" y="106"/>
                </a:lnTo>
                <a:lnTo>
                  <a:pt x="308" y="98"/>
                </a:lnTo>
                <a:lnTo>
                  <a:pt x="304" y="90"/>
                </a:lnTo>
                <a:lnTo>
                  <a:pt x="300" y="83"/>
                </a:lnTo>
                <a:lnTo>
                  <a:pt x="294" y="78"/>
                </a:lnTo>
                <a:lnTo>
                  <a:pt x="288" y="73"/>
                </a:lnTo>
                <a:lnTo>
                  <a:pt x="282" y="67"/>
                </a:lnTo>
                <a:lnTo>
                  <a:pt x="274" y="65"/>
                </a:lnTo>
                <a:lnTo>
                  <a:pt x="266" y="62"/>
                </a:lnTo>
                <a:lnTo>
                  <a:pt x="266" y="62"/>
                </a:lnTo>
                <a:lnTo>
                  <a:pt x="267" y="53"/>
                </a:lnTo>
                <a:lnTo>
                  <a:pt x="270" y="46"/>
                </a:lnTo>
                <a:lnTo>
                  <a:pt x="274" y="38"/>
                </a:lnTo>
                <a:lnTo>
                  <a:pt x="279" y="32"/>
                </a:lnTo>
                <a:lnTo>
                  <a:pt x="286" y="27"/>
                </a:lnTo>
                <a:lnTo>
                  <a:pt x="292" y="23"/>
                </a:lnTo>
                <a:lnTo>
                  <a:pt x="300" y="22"/>
                </a:lnTo>
                <a:lnTo>
                  <a:pt x="308" y="20"/>
                </a:lnTo>
                <a:lnTo>
                  <a:pt x="308" y="20"/>
                </a:lnTo>
                <a:lnTo>
                  <a:pt x="318" y="22"/>
                </a:lnTo>
                <a:lnTo>
                  <a:pt x="326" y="24"/>
                </a:lnTo>
                <a:lnTo>
                  <a:pt x="333" y="28"/>
                </a:lnTo>
                <a:lnTo>
                  <a:pt x="339" y="32"/>
                </a:lnTo>
                <a:lnTo>
                  <a:pt x="345" y="39"/>
                </a:lnTo>
                <a:lnTo>
                  <a:pt x="349" y="47"/>
                </a:lnTo>
                <a:lnTo>
                  <a:pt x="350" y="55"/>
                </a:lnTo>
                <a:lnTo>
                  <a:pt x="351" y="63"/>
                </a:lnTo>
                <a:lnTo>
                  <a:pt x="351"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58"/>
          <p:cNvSpPr>
            <a:spLocks noEditPoints="1"/>
          </p:cNvSpPr>
          <p:nvPr/>
        </p:nvSpPr>
        <p:spPr bwMode="auto">
          <a:xfrm>
            <a:off x="1223425" y="5245608"/>
            <a:ext cx="391320" cy="432391"/>
          </a:xfrm>
          <a:custGeom>
            <a:avLst/>
            <a:gdLst>
              <a:gd name="T0" fmla="*/ 263 w 306"/>
              <a:gd name="T1" fmla="*/ 1 h 327"/>
              <a:gd name="T2" fmla="*/ 262 w 306"/>
              <a:gd name="T3" fmla="*/ 1 h 327"/>
              <a:gd name="T4" fmla="*/ 261 w 306"/>
              <a:gd name="T5" fmla="*/ 0 h 327"/>
              <a:gd name="T6" fmla="*/ 47 w 306"/>
              <a:gd name="T7" fmla="*/ 0 h 327"/>
              <a:gd name="T8" fmla="*/ 46 w 306"/>
              <a:gd name="T9" fmla="*/ 0 h 327"/>
              <a:gd name="T10" fmla="*/ 44 w 306"/>
              <a:gd name="T11" fmla="*/ 1 h 327"/>
              <a:gd name="T12" fmla="*/ 43 w 306"/>
              <a:gd name="T13" fmla="*/ 1 h 327"/>
              <a:gd name="T14" fmla="*/ 0 w 306"/>
              <a:gd name="T15" fmla="*/ 57 h 327"/>
              <a:gd name="T16" fmla="*/ 75 w 306"/>
              <a:gd name="T17" fmla="*/ 163 h 327"/>
              <a:gd name="T18" fmla="*/ 54 w 306"/>
              <a:gd name="T19" fmla="*/ 209 h 327"/>
              <a:gd name="T20" fmla="*/ 54 w 306"/>
              <a:gd name="T21" fmla="*/ 237 h 327"/>
              <a:gd name="T22" fmla="*/ 60 w 306"/>
              <a:gd name="T23" fmla="*/ 266 h 327"/>
              <a:gd name="T24" fmla="*/ 75 w 306"/>
              <a:gd name="T25" fmla="*/ 291 h 327"/>
              <a:gd name="T26" fmla="*/ 97 w 306"/>
              <a:gd name="T27" fmla="*/ 310 h 327"/>
              <a:gd name="T28" fmla="*/ 124 w 306"/>
              <a:gd name="T29" fmla="*/ 323 h 327"/>
              <a:gd name="T30" fmla="*/ 153 w 306"/>
              <a:gd name="T31" fmla="*/ 327 h 327"/>
              <a:gd name="T32" fmla="*/ 173 w 306"/>
              <a:gd name="T33" fmla="*/ 325 h 327"/>
              <a:gd name="T34" fmla="*/ 201 w 306"/>
              <a:gd name="T35" fmla="*/ 315 h 327"/>
              <a:gd name="T36" fmla="*/ 224 w 306"/>
              <a:gd name="T37" fmla="*/ 298 h 327"/>
              <a:gd name="T38" fmla="*/ 242 w 306"/>
              <a:gd name="T39" fmla="*/ 275 h 327"/>
              <a:gd name="T40" fmla="*/ 251 w 306"/>
              <a:gd name="T41" fmla="*/ 247 h 327"/>
              <a:gd name="T42" fmla="*/ 254 w 306"/>
              <a:gd name="T43" fmla="*/ 227 h 327"/>
              <a:gd name="T44" fmla="*/ 240 w 306"/>
              <a:gd name="T45" fmla="*/ 177 h 327"/>
              <a:gd name="T46" fmla="*/ 306 w 306"/>
              <a:gd name="T47" fmla="*/ 60 h 327"/>
              <a:gd name="T48" fmla="*/ 306 w 306"/>
              <a:gd name="T49" fmla="*/ 55 h 327"/>
              <a:gd name="T50" fmla="*/ 168 w 306"/>
              <a:gd name="T51" fmla="*/ 127 h 327"/>
              <a:gd name="T52" fmla="*/ 140 w 306"/>
              <a:gd name="T53" fmla="*/ 127 h 327"/>
              <a:gd name="T54" fmla="*/ 12 w 306"/>
              <a:gd name="T55" fmla="*/ 57 h 327"/>
              <a:gd name="T56" fmla="*/ 128 w 306"/>
              <a:gd name="T57" fmla="*/ 130 h 327"/>
              <a:gd name="T58" fmla="*/ 93 w 306"/>
              <a:gd name="T59" fmla="*/ 146 h 327"/>
              <a:gd name="T60" fmla="*/ 210 w 306"/>
              <a:gd name="T61" fmla="*/ 216 h 327"/>
              <a:gd name="T62" fmla="*/ 191 w 306"/>
              <a:gd name="T63" fmla="*/ 274 h 327"/>
              <a:gd name="T64" fmla="*/ 188 w 306"/>
              <a:gd name="T65" fmla="*/ 279 h 327"/>
              <a:gd name="T66" fmla="*/ 183 w 306"/>
              <a:gd name="T67" fmla="*/ 279 h 327"/>
              <a:gd name="T68" fmla="*/ 122 w 306"/>
              <a:gd name="T69" fmla="*/ 279 h 327"/>
              <a:gd name="T70" fmla="*/ 117 w 306"/>
              <a:gd name="T71" fmla="*/ 279 h 327"/>
              <a:gd name="T72" fmla="*/ 120 w 306"/>
              <a:gd name="T73" fmla="*/ 240 h 327"/>
              <a:gd name="T74" fmla="*/ 94 w 306"/>
              <a:gd name="T75" fmla="*/ 213 h 327"/>
              <a:gd name="T76" fmla="*/ 97 w 306"/>
              <a:gd name="T77" fmla="*/ 208 h 327"/>
              <a:gd name="T78" fmla="*/ 148 w 306"/>
              <a:gd name="T79" fmla="*/ 172 h 327"/>
              <a:gd name="T80" fmla="*/ 153 w 306"/>
              <a:gd name="T81" fmla="*/ 169 h 327"/>
              <a:gd name="T82" fmla="*/ 156 w 306"/>
              <a:gd name="T83" fmla="*/ 169 h 327"/>
              <a:gd name="T84" fmla="*/ 207 w 306"/>
              <a:gd name="T85" fmla="*/ 208 h 327"/>
              <a:gd name="T86" fmla="*/ 211 w 306"/>
              <a:gd name="T87" fmla="*/ 212 h 327"/>
              <a:gd name="T88" fmla="*/ 210 w 306"/>
              <a:gd name="T89" fmla="*/ 216 h 327"/>
              <a:gd name="T90" fmla="*/ 224 w 306"/>
              <a:gd name="T91" fmla="*/ 155 h 327"/>
              <a:gd name="T92" fmla="*/ 192 w 306"/>
              <a:gd name="T93" fmla="*/ 134 h 327"/>
              <a:gd name="T94" fmla="*/ 294 w 306"/>
              <a:gd name="T95" fmla="*/ 5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6" h="327">
                <a:moveTo>
                  <a:pt x="306" y="55"/>
                </a:moveTo>
                <a:lnTo>
                  <a:pt x="263" y="1"/>
                </a:lnTo>
                <a:lnTo>
                  <a:pt x="263" y="1"/>
                </a:lnTo>
                <a:lnTo>
                  <a:pt x="263" y="1"/>
                </a:lnTo>
                <a:lnTo>
                  <a:pt x="262" y="1"/>
                </a:lnTo>
                <a:lnTo>
                  <a:pt x="262" y="1"/>
                </a:lnTo>
                <a:lnTo>
                  <a:pt x="262" y="1"/>
                </a:lnTo>
                <a:lnTo>
                  <a:pt x="261" y="0"/>
                </a:lnTo>
                <a:lnTo>
                  <a:pt x="261" y="0"/>
                </a:lnTo>
                <a:lnTo>
                  <a:pt x="259" y="0"/>
                </a:lnTo>
                <a:lnTo>
                  <a:pt x="259" y="0"/>
                </a:lnTo>
                <a:lnTo>
                  <a:pt x="47" y="0"/>
                </a:lnTo>
                <a:lnTo>
                  <a:pt x="47" y="0"/>
                </a:lnTo>
                <a:lnTo>
                  <a:pt x="47" y="0"/>
                </a:lnTo>
                <a:lnTo>
                  <a:pt x="46" y="0"/>
                </a:lnTo>
                <a:lnTo>
                  <a:pt x="46" y="0"/>
                </a:lnTo>
                <a:lnTo>
                  <a:pt x="44" y="1"/>
                </a:lnTo>
                <a:lnTo>
                  <a:pt x="44" y="1"/>
                </a:lnTo>
                <a:lnTo>
                  <a:pt x="44" y="1"/>
                </a:lnTo>
                <a:lnTo>
                  <a:pt x="44" y="1"/>
                </a:lnTo>
                <a:lnTo>
                  <a:pt x="43" y="1"/>
                </a:lnTo>
                <a:lnTo>
                  <a:pt x="1" y="55"/>
                </a:lnTo>
                <a:lnTo>
                  <a:pt x="1" y="55"/>
                </a:lnTo>
                <a:lnTo>
                  <a:pt x="0" y="57"/>
                </a:lnTo>
                <a:lnTo>
                  <a:pt x="1" y="60"/>
                </a:lnTo>
                <a:lnTo>
                  <a:pt x="75" y="163"/>
                </a:lnTo>
                <a:lnTo>
                  <a:pt x="75" y="163"/>
                </a:lnTo>
                <a:lnTo>
                  <a:pt x="66" y="177"/>
                </a:lnTo>
                <a:lnTo>
                  <a:pt x="59" y="193"/>
                </a:lnTo>
                <a:lnTo>
                  <a:pt x="54" y="209"/>
                </a:lnTo>
                <a:lnTo>
                  <a:pt x="52" y="227"/>
                </a:lnTo>
                <a:lnTo>
                  <a:pt x="52" y="227"/>
                </a:lnTo>
                <a:lnTo>
                  <a:pt x="54" y="237"/>
                </a:lnTo>
                <a:lnTo>
                  <a:pt x="55" y="247"/>
                </a:lnTo>
                <a:lnTo>
                  <a:pt x="58" y="256"/>
                </a:lnTo>
                <a:lnTo>
                  <a:pt x="60" y="266"/>
                </a:lnTo>
                <a:lnTo>
                  <a:pt x="64" y="275"/>
                </a:lnTo>
                <a:lnTo>
                  <a:pt x="70" y="283"/>
                </a:lnTo>
                <a:lnTo>
                  <a:pt x="75" y="291"/>
                </a:lnTo>
                <a:lnTo>
                  <a:pt x="82" y="298"/>
                </a:lnTo>
                <a:lnTo>
                  <a:pt x="90" y="305"/>
                </a:lnTo>
                <a:lnTo>
                  <a:pt x="97" y="310"/>
                </a:lnTo>
                <a:lnTo>
                  <a:pt x="105" y="315"/>
                </a:lnTo>
                <a:lnTo>
                  <a:pt x="114" y="319"/>
                </a:lnTo>
                <a:lnTo>
                  <a:pt x="124" y="323"/>
                </a:lnTo>
                <a:lnTo>
                  <a:pt x="133" y="325"/>
                </a:lnTo>
                <a:lnTo>
                  <a:pt x="144" y="327"/>
                </a:lnTo>
                <a:lnTo>
                  <a:pt x="153" y="327"/>
                </a:lnTo>
                <a:lnTo>
                  <a:pt x="153" y="327"/>
                </a:lnTo>
                <a:lnTo>
                  <a:pt x="164" y="327"/>
                </a:lnTo>
                <a:lnTo>
                  <a:pt x="173" y="325"/>
                </a:lnTo>
                <a:lnTo>
                  <a:pt x="183" y="323"/>
                </a:lnTo>
                <a:lnTo>
                  <a:pt x="192" y="319"/>
                </a:lnTo>
                <a:lnTo>
                  <a:pt x="201" y="315"/>
                </a:lnTo>
                <a:lnTo>
                  <a:pt x="210" y="310"/>
                </a:lnTo>
                <a:lnTo>
                  <a:pt x="218" y="305"/>
                </a:lnTo>
                <a:lnTo>
                  <a:pt x="224" y="298"/>
                </a:lnTo>
                <a:lnTo>
                  <a:pt x="231" y="291"/>
                </a:lnTo>
                <a:lnTo>
                  <a:pt x="236" y="283"/>
                </a:lnTo>
                <a:lnTo>
                  <a:pt x="242" y="275"/>
                </a:lnTo>
                <a:lnTo>
                  <a:pt x="246" y="266"/>
                </a:lnTo>
                <a:lnTo>
                  <a:pt x="250" y="256"/>
                </a:lnTo>
                <a:lnTo>
                  <a:pt x="251" y="247"/>
                </a:lnTo>
                <a:lnTo>
                  <a:pt x="254" y="237"/>
                </a:lnTo>
                <a:lnTo>
                  <a:pt x="254" y="227"/>
                </a:lnTo>
                <a:lnTo>
                  <a:pt x="254" y="227"/>
                </a:lnTo>
                <a:lnTo>
                  <a:pt x="253" y="209"/>
                </a:lnTo>
                <a:lnTo>
                  <a:pt x="248" y="193"/>
                </a:lnTo>
                <a:lnTo>
                  <a:pt x="240" y="177"/>
                </a:lnTo>
                <a:lnTo>
                  <a:pt x="231" y="163"/>
                </a:lnTo>
                <a:lnTo>
                  <a:pt x="306" y="60"/>
                </a:lnTo>
                <a:lnTo>
                  <a:pt x="306" y="60"/>
                </a:lnTo>
                <a:lnTo>
                  <a:pt x="306" y="57"/>
                </a:lnTo>
                <a:lnTo>
                  <a:pt x="306" y="55"/>
                </a:lnTo>
                <a:lnTo>
                  <a:pt x="306" y="55"/>
                </a:lnTo>
                <a:close/>
                <a:moveTo>
                  <a:pt x="212" y="63"/>
                </a:moveTo>
                <a:lnTo>
                  <a:pt x="168" y="127"/>
                </a:lnTo>
                <a:lnTo>
                  <a:pt x="168" y="127"/>
                </a:lnTo>
                <a:lnTo>
                  <a:pt x="153" y="126"/>
                </a:lnTo>
                <a:lnTo>
                  <a:pt x="153" y="126"/>
                </a:lnTo>
                <a:lnTo>
                  <a:pt x="140" y="127"/>
                </a:lnTo>
                <a:lnTo>
                  <a:pt x="94" y="63"/>
                </a:lnTo>
                <a:lnTo>
                  <a:pt x="212" y="63"/>
                </a:lnTo>
                <a:close/>
                <a:moveTo>
                  <a:pt x="12" y="57"/>
                </a:moveTo>
                <a:lnTo>
                  <a:pt x="47" y="13"/>
                </a:lnTo>
                <a:lnTo>
                  <a:pt x="128" y="130"/>
                </a:lnTo>
                <a:lnTo>
                  <a:pt x="128" y="130"/>
                </a:lnTo>
                <a:lnTo>
                  <a:pt x="116" y="134"/>
                </a:lnTo>
                <a:lnTo>
                  <a:pt x="103" y="139"/>
                </a:lnTo>
                <a:lnTo>
                  <a:pt x="93" y="146"/>
                </a:lnTo>
                <a:lnTo>
                  <a:pt x="83" y="155"/>
                </a:lnTo>
                <a:lnTo>
                  <a:pt x="12" y="57"/>
                </a:lnTo>
                <a:close/>
                <a:moveTo>
                  <a:pt x="210" y="216"/>
                </a:moveTo>
                <a:lnTo>
                  <a:pt x="185" y="240"/>
                </a:lnTo>
                <a:lnTo>
                  <a:pt x="191" y="274"/>
                </a:lnTo>
                <a:lnTo>
                  <a:pt x="191" y="274"/>
                </a:lnTo>
                <a:lnTo>
                  <a:pt x="191" y="276"/>
                </a:lnTo>
                <a:lnTo>
                  <a:pt x="188" y="279"/>
                </a:lnTo>
                <a:lnTo>
                  <a:pt x="188" y="279"/>
                </a:lnTo>
                <a:lnTo>
                  <a:pt x="185" y="280"/>
                </a:lnTo>
                <a:lnTo>
                  <a:pt x="185" y="280"/>
                </a:lnTo>
                <a:lnTo>
                  <a:pt x="183" y="279"/>
                </a:lnTo>
                <a:lnTo>
                  <a:pt x="152" y="264"/>
                </a:lnTo>
                <a:lnTo>
                  <a:pt x="122" y="279"/>
                </a:lnTo>
                <a:lnTo>
                  <a:pt x="122" y="279"/>
                </a:lnTo>
                <a:lnTo>
                  <a:pt x="120" y="280"/>
                </a:lnTo>
                <a:lnTo>
                  <a:pt x="117" y="279"/>
                </a:lnTo>
                <a:lnTo>
                  <a:pt x="117" y="279"/>
                </a:lnTo>
                <a:lnTo>
                  <a:pt x="114" y="276"/>
                </a:lnTo>
                <a:lnTo>
                  <a:pt x="114" y="274"/>
                </a:lnTo>
                <a:lnTo>
                  <a:pt x="120" y="240"/>
                </a:lnTo>
                <a:lnTo>
                  <a:pt x="95" y="216"/>
                </a:lnTo>
                <a:lnTo>
                  <a:pt x="95" y="216"/>
                </a:lnTo>
                <a:lnTo>
                  <a:pt x="94" y="213"/>
                </a:lnTo>
                <a:lnTo>
                  <a:pt x="94" y="211"/>
                </a:lnTo>
                <a:lnTo>
                  <a:pt x="94" y="211"/>
                </a:lnTo>
                <a:lnTo>
                  <a:pt x="97" y="208"/>
                </a:lnTo>
                <a:lnTo>
                  <a:pt x="99" y="208"/>
                </a:lnTo>
                <a:lnTo>
                  <a:pt x="133" y="202"/>
                </a:lnTo>
                <a:lnTo>
                  <a:pt x="148" y="172"/>
                </a:lnTo>
                <a:lnTo>
                  <a:pt x="148" y="172"/>
                </a:lnTo>
                <a:lnTo>
                  <a:pt x="150" y="170"/>
                </a:lnTo>
                <a:lnTo>
                  <a:pt x="153" y="169"/>
                </a:lnTo>
                <a:lnTo>
                  <a:pt x="153" y="169"/>
                </a:lnTo>
                <a:lnTo>
                  <a:pt x="153" y="169"/>
                </a:lnTo>
                <a:lnTo>
                  <a:pt x="156" y="169"/>
                </a:lnTo>
                <a:lnTo>
                  <a:pt x="157" y="172"/>
                </a:lnTo>
                <a:lnTo>
                  <a:pt x="172" y="202"/>
                </a:lnTo>
                <a:lnTo>
                  <a:pt x="207" y="208"/>
                </a:lnTo>
                <a:lnTo>
                  <a:pt x="207" y="208"/>
                </a:lnTo>
                <a:lnTo>
                  <a:pt x="210" y="209"/>
                </a:lnTo>
                <a:lnTo>
                  <a:pt x="211" y="212"/>
                </a:lnTo>
                <a:lnTo>
                  <a:pt x="211" y="212"/>
                </a:lnTo>
                <a:lnTo>
                  <a:pt x="211" y="213"/>
                </a:lnTo>
                <a:lnTo>
                  <a:pt x="210" y="216"/>
                </a:lnTo>
                <a:lnTo>
                  <a:pt x="210" y="216"/>
                </a:lnTo>
                <a:close/>
                <a:moveTo>
                  <a:pt x="224" y="155"/>
                </a:moveTo>
                <a:lnTo>
                  <a:pt x="224" y="155"/>
                </a:lnTo>
                <a:lnTo>
                  <a:pt x="214" y="147"/>
                </a:lnTo>
                <a:lnTo>
                  <a:pt x="203" y="139"/>
                </a:lnTo>
                <a:lnTo>
                  <a:pt x="192" y="134"/>
                </a:lnTo>
                <a:lnTo>
                  <a:pt x="179" y="130"/>
                </a:lnTo>
                <a:lnTo>
                  <a:pt x="259" y="13"/>
                </a:lnTo>
                <a:lnTo>
                  <a:pt x="294" y="57"/>
                </a:lnTo>
                <a:lnTo>
                  <a:pt x="224" y="1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 name="Tijdelijke aanduiding voor voettekst 1"/>
          <p:cNvSpPr>
            <a:spLocks noGrp="1"/>
          </p:cNvSpPr>
          <p:nvPr>
            <p:ph type="ftr" sz="quarter" idx="15"/>
          </p:nvPr>
        </p:nvSpPr>
        <p:spPr/>
        <p:txBody>
          <a:bodyPr/>
          <a:lstStyle/>
          <a:p>
            <a:r>
              <a:rPr lang="nl-NL"/>
              <a:t>Behoefte functionele migratie SMZ</a:t>
            </a:r>
            <a:endParaRPr lang="en-GB" dirty="0"/>
          </a:p>
        </p:txBody>
      </p:sp>
      <p:sp>
        <p:nvSpPr>
          <p:cNvPr id="3" name="Tijdelijke aanduiding voor dianummer 2"/>
          <p:cNvSpPr>
            <a:spLocks noGrp="1"/>
          </p:cNvSpPr>
          <p:nvPr>
            <p:ph type="sldNum" sz="quarter" idx="16"/>
          </p:nvPr>
        </p:nvSpPr>
        <p:spPr/>
        <p:txBody>
          <a:bodyPr/>
          <a:lstStyle/>
          <a:p>
            <a:fld id="{EEC0F82C-4994-47DA-8D9B-99D78D224F6D}" type="slidenum">
              <a:rPr lang="en-GB" smtClean="0"/>
              <a:pPr/>
              <a:t>5</a:t>
            </a:fld>
            <a:endParaRPr lang="en-GB" dirty="0"/>
          </a:p>
        </p:txBody>
      </p:sp>
    </p:spTree>
    <p:extLst>
      <p:ext uri="{BB962C8B-B14F-4D97-AF65-F5344CB8AC3E}">
        <p14:creationId xmlns:p14="http://schemas.microsoft.com/office/powerpoint/2010/main" val="432139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el 4"/>
          <p:cNvSpPr txBox="1">
            <a:spLocks/>
          </p:cNvSpPr>
          <p:nvPr/>
        </p:nvSpPr>
        <p:spPr bwMode="gray">
          <a:xfrm>
            <a:off x="571500" y="542166"/>
            <a:ext cx="11049000" cy="981834"/>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400" b="1" kern="1200">
                <a:solidFill>
                  <a:schemeClr val="tx2"/>
                </a:solidFill>
                <a:latin typeface="+mj-lt"/>
                <a:ea typeface="+mj-ea"/>
                <a:cs typeface="+mj-cs"/>
              </a:defRPr>
            </a:lvl1pPr>
          </a:lstStyle>
          <a:p>
            <a:pPr lvl="0">
              <a:defRPr/>
            </a:pPr>
            <a:r>
              <a:rPr lang="nl-NL" noProof="0" dirty="0">
                <a:solidFill>
                  <a:schemeClr val="accent2"/>
                </a:solidFill>
              </a:rPr>
              <a:t>SMZ wil kunnen herleiden hoe de informatie door de keten tot stand </a:t>
            </a:r>
            <a:r>
              <a:rPr lang="nl-NL" dirty="0">
                <a:solidFill>
                  <a:schemeClr val="accent2"/>
                </a:solidFill>
              </a:rPr>
              <a:t>komt, zeker zijn van kwaliteit en snel kunnen performen*</a:t>
            </a:r>
            <a:endParaRPr kumimoji="0" lang="nl-NL" sz="2400" b="1" i="0" u="none" strike="noStrike" kern="1200" cap="none" spc="0" normalizeH="0" baseline="0" noProof="0" dirty="0">
              <a:ln>
                <a:noFill/>
              </a:ln>
              <a:solidFill>
                <a:schemeClr val="accent2"/>
              </a:solidFill>
              <a:effectLst/>
              <a:uLnTx/>
              <a:uFillTx/>
              <a:latin typeface="Verdana"/>
            </a:endParaRPr>
          </a:p>
        </p:txBody>
      </p:sp>
      <p:sp>
        <p:nvSpPr>
          <p:cNvPr id="31" name="Rechthoek 30"/>
          <p:cNvSpPr/>
          <p:nvPr/>
        </p:nvSpPr>
        <p:spPr>
          <a:xfrm>
            <a:off x="571499" y="288447"/>
            <a:ext cx="7200000" cy="19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all" spc="0" normalizeH="0" baseline="0" noProof="0" dirty="0">
                <a:ln>
                  <a:noFill/>
                </a:ln>
                <a:solidFill>
                  <a:srgbClr val="FFFFFF">
                    <a:lumMod val="85000"/>
                  </a:srgbClr>
                </a:solidFill>
                <a:effectLst/>
                <a:uLnTx/>
                <a:uFillTx/>
                <a:latin typeface="Verdana"/>
                <a:ea typeface="+mn-ea"/>
                <a:cs typeface="+mn-cs"/>
              </a:rPr>
              <a:t>Tactische behoefte (3/3)</a:t>
            </a:r>
          </a:p>
        </p:txBody>
      </p:sp>
      <p:sp>
        <p:nvSpPr>
          <p:cNvPr id="50" name="Rechthoek 49"/>
          <p:cNvSpPr/>
          <p:nvPr/>
        </p:nvSpPr>
        <p:spPr>
          <a:xfrm>
            <a:off x="1509204" y="1642867"/>
            <a:ext cx="10682796" cy="25333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Ovaal 50"/>
          <p:cNvSpPr/>
          <p:nvPr/>
        </p:nvSpPr>
        <p:spPr>
          <a:xfrm>
            <a:off x="923279" y="1642867"/>
            <a:ext cx="1065321" cy="253339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hthoek 51"/>
          <p:cNvSpPr/>
          <p:nvPr/>
        </p:nvSpPr>
        <p:spPr>
          <a:xfrm>
            <a:off x="1849639" y="1713887"/>
            <a:ext cx="9770861" cy="2462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400"/>
              </a:spcBef>
            </a:pPr>
            <a:r>
              <a:rPr lang="nl-NL" sz="1200" b="1" dirty="0">
                <a:solidFill>
                  <a:schemeClr val="tx1"/>
                </a:solidFill>
              </a:rPr>
              <a:t>Herleidbaarheid</a:t>
            </a:r>
          </a:p>
          <a:p>
            <a:pPr marL="171450" indent="-171450">
              <a:spcBef>
                <a:spcPts val="400"/>
              </a:spcBef>
              <a:buFont typeface="Arial" panose="020B0604020202020204" pitchFamily="34" charset="0"/>
              <a:buChar char="•"/>
            </a:pPr>
            <a:r>
              <a:rPr lang="nl-NL" sz="1200" dirty="0">
                <a:solidFill>
                  <a:schemeClr val="tx1"/>
                </a:solidFill>
              </a:rPr>
              <a:t>Ingerichte horizontale en verticale </a:t>
            </a:r>
            <a:r>
              <a:rPr lang="nl-NL" sz="1200" dirty="0" err="1">
                <a:solidFill>
                  <a:schemeClr val="tx1"/>
                </a:solidFill>
              </a:rPr>
              <a:t>lineage</a:t>
            </a:r>
            <a:endParaRPr lang="nl-NL" sz="1200" dirty="0">
              <a:solidFill>
                <a:schemeClr val="tx1"/>
              </a:solidFill>
            </a:endParaRPr>
          </a:p>
          <a:p>
            <a:pPr marL="171450" indent="-171450">
              <a:spcBef>
                <a:spcPts val="400"/>
              </a:spcBef>
              <a:buFont typeface="Arial" panose="020B0604020202020204" pitchFamily="34" charset="0"/>
              <a:buChar char="•"/>
            </a:pPr>
            <a:r>
              <a:rPr lang="nl-NL" sz="1200" dirty="0">
                <a:solidFill>
                  <a:schemeClr val="tx1"/>
                </a:solidFill>
              </a:rPr>
              <a:t>Voor de bronzone, de integratiezone en de bedrijfszone wordt aangetoond dat, op elk overdrachtsmoment, de gegevens die overgedragen of geladen worden in ieder geval voldoen aan de kwaliteitseisen:</a:t>
            </a:r>
          </a:p>
          <a:p>
            <a:pPr marL="452438" lvl="1" indent="-271463">
              <a:spcBef>
                <a:spcPts val="400"/>
              </a:spcBef>
              <a:buFont typeface="Courier New" panose="02070309020205020404" pitchFamily="49" charset="0"/>
              <a:buChar char="o"/>
            </a:pPr>
            <a:r>
              <a:rPr lang="nl-NL" sz="1200" dirty="0">
                <a:solidFill>
                  <a:schemeClr val="tx1"/>
                </a:solidFill>
              </a:rPr>
              <a:t>Compleetheid: alle data die nodig is voor gebruik is aangeleverd of aanwezig;</a:t>
            </a:r>
          </a:p>
          <a:p>
            <a:pPr marL="452438" lvl="1" indent="-271463">
              <a:spcBef>
                <a:spcPts val="400"/>
              </a:spcBef>
              <a:buFont typeface="Courier New" panose="02070309020205020404" pitchFamily="49" charset="0"/>
              <a:buChar char="o"/>
            </a:pPr>
            <a:r>
              <a:rPr lang="nl-NL" sz="1200" dirty="0">
                <a:solidFill>
                  <a:schemeClr val="tx1"/>
                </a:solidFill>
              </a:rPr>
              <a:t>Tijdigheid: alle data die nodig is voor gebruik zijn tijdig geladen en tijdig volgens de afgesproken normen voor productie aanwezig;</a:t>
            </a:r>
          </a:p>
          <a:p>
            <a:pPr marL="452438" lvl="1" indent="-271463">
              <a:spcBef>
                <a:spcPts val="400"/>
              </a:spcBef>
              <a:buFont typeface="Courier New" panose="02070309020205020404" pitchFamily="49" charset="0"/>
              <a:buChar char="o"/>
            </a:pPr>
            <a:r>
              <a:rPr lang="nl-NL" sz="1200" dirty="0">
                <a:solidFill>
                  <a:schemeClr val="tx1"/>
                </a:solidFill>
              </a:rPr>
              <a:t>Uniciteit: elke entiteit is maar één keer opgeslagen;</a:t>
            </a:r>
          </a:p>
          <a:p>
            <a:pPr marL="452438" lvl="1" indent="-271463">
              <a:spcBef>
                <a:spcPts val="400"/>
              </a:spcBef>
              <a:buFont typeface="Courier New" panose="02070309020205020404" pitchFamily="49" charset="0"/>
              <a:buChar char="o"/>
            </a:pPr>
            <a:r>
              <a:rPr lang="nl-NL" sz="1200" dirty="0" err="1">
                <a:solidFill>
                  <a:schemeClr val="tx1"/>
                </a:solidFill>
              </a:rPr>
              <a:t>Referentiële</a:t>
            </a:r>
            <a:r>
              <a:rPr lang="nl-NL" sz="1200" dirty="0">
                <a:solidFill>
                  <a:schemeClr val="tx1"/>
                </a:solidFill>
              </a:rPr>
              <a:t> integriteit: In een relationele database is het uitgangspunt dat de interne consistentie tussen de verschillende tabellen binnen die database wordt gewaarborgd. Dat betekent dat er altijd een primaire sleutel in een tabel bestaat als er in een sleutelveld in een andere tabel naar wordt verwezen.</a:t>
            </a:r>
          </a:p>
          <a:p>
            <a:pPr marL="171450" indent="-171450">
              <a:spcBef>
                <a:spcPts val="400"/>
              </a:spcBef>
              <a:buFont typeface="Arial" panose="020B0604020202020204" pitchFamily="34" charset="0"/>
              <a:buChar char="•"/>
            </a:pPr>
            <a:endParaRPr lang="nl-NL" sz="1200" i="1" dirty="0">
              <a:solidFill>
                <a:schemeClr val="tx1"/>
              </a:solidFill>
            </a:endParaRPr>
          </a:p>
        </p:txBody>
      </p:sp>
      <p:sp>
        <p:nvSpPr>
          <p:cNvPr id="65" name="Rechthoek 64"/>
          <p:cNvSpPr/>
          <p:nvPr/>
        </p:nvSpPr>
        <p:spPr>
          <a:xfrm>
            <a:off x="1509204" y="4295125"/>
            <a:ext cx="10682796" cy="15699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6" name="Ovaal 65"/>
          <p:cNvSpPr/>
          <p:nvPr/>
        </p:nvSpPr>
        <p:spPr>
          <a:xfrm>
            <a:off x="923279" y="4295125"/>
            <a:ext cx="1065321" cy="156996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7" name="Rechthoek 66"/>
          <p:cNvSpPr/>
          <p:nvPr/>
        </p:nvSpPr>
        <p:spPr>
          <a:xfrm>
            <a:off x="1849639" y="4320886"/>
            <a:ext cx="9770861" cy="15442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400"/>
              </a:spcBef>
            </a:pPr>
            <a:r>
              <a:rPr lang="nl-NL" sz="1200" b="1" dirty="0">
                <a:solidFill>
                  <a:schemeClr val="tx1"/>
                </a:solidFill>
              </a:rPr>
              <a:t>Performance   </a:t>
            </a:r>
          </a:p>
          <a:p>
            <a:pPr marL="171450" indent="-171450">
              <a:spcBef>
                <a:spcPts val="400"/>
              </a:spcBef>
              <a:buFont typeface="Arial" panose="020B0604020202020204" pitchFamily="34" charset="0"/>
              <a:buChar char="•"/>
            </a:pPr>
            <a:r>
              <a:rPr lang="nl-NL" sz="1200" dirty="0">
                <a:solidFill>
                  <a:schemeClr val="tx1"/>
                </a:solidFill>
              </a:rPr>
              <a:t>Het uitvoeren van </a:t>
            </a:r>
            <a:r>
              <a:rPr lang="nl-NL" sz="1200" dirty="0" err="1">
                <a:solidFill>
                  <a:schemeClr val="tx1"/>
                </a:solidFill>
              </a:rPr>
              <a:t>queries</a:t>
            </a:r>
            <a:r>
              <a:rPr lang="nl-NL" sz="1200" dirty="0">
                <a:solidFill>
                  <a:schemeClr val="tx1"/>
                </a:solidFill>
              </a:rPr>
              <a:t> en het verversen van rapporten duurt maximaal 1 minuut </a:t>
            </a:r>
          </a:p>
          <a:p>
            <a:pPr marL="171450" indent="-171450">
              <a:spcBef>
                <a:spcPts val="400"/>
              </a:spcBef>
              <a:buFont typeface="Arial" panose="020B0604020202020204" pitchFamily="34" charset="0"/>
              <a:buChar char="•"/>
            </a:pPr>
            <a:r>
              <a:rPr lang="nl-NL" sz="1200" dirty="0">
                <a:solidFill>
                  <a:schemeClr val="tx1"/>
                </a:solidFill>
              </a:rPr>
              <a:t>Het laden of herladen, na het herstellen van een fout of het implementeren van een wijziging, van data in de nieuwe omgeving duurt maximaal 1 dag</a:t>
            </a:r>
          </a:p>
          <a:p>
            <a:pPr marL="171450" indent="-171450">
              <a:spcBef>
                <a:spcPts val="400"/>
              </a:spcBef>
              <a:buFont typeface="Arial" panose="020B0604020202020204" pitchFamily="34" charset="0"/>
              <a:buChar char="•"/>
            </a:pPr>
            <a:r>
              <a:rPr lang="nl-NL" sz="1200" dirty="0">
                <a:solidFill>
                  <a:schemeClr val="tx1"/>
                </a:solidFill>
              </a:rPr>
              <a:t>Het OTAP proces is zo ingericht dat fouten bij het overzetten van de ene naar de andere omgeving worden voorkomen</a:t>
            </a:r>
          </a:p>
          <a:p>
            <a:pPr marL="171450" indent="-171450">
              <a:spcBef>
                <a:spcPts val="400"/>
              </a:spcBef>
              <a:buFont typeface="Arial" panose="020B0604020202020204" pitchFamily="34" charset="0"/>
              <a:buChar char="•"/>
            </a:pPr>
            <a:r>
              <a:rPr lang="nl-NL" sz="1200" dirty="0">
                <a:solidFill>
                  <a:schemeClr val="tx1"/>
                </a:solidFill>
              </a:rPr>
              <a:t>Het is mogelijk om vorige versies van de productie-omgeving terug te zetten</a:t>
            </a:r>
          </a:p>
        </p:txBody>
      </p:sp>
      <p:sp>
        <p:nvSpPr>
          <p:cNvPr id="2" name="Rechthoek 1"/>
          <p:cNvSpPr/>
          <p:nvPr/>
        </p:nvSpPr>
        <p:spPr>
          <a:xfrm>
            <a:off x="923279" y="6111351"/>
            <a:ext cx="6817591" cy="250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90488"/>
            <a:r>
              <a:rPr lang="nl-NL" sz="900" dirty="0">
                <a:solidFill>
                  <a:schemeClr val="tx1"/>
                </a:solidFill>
              </a:rPr>
              <a:t>* Cursieve teksten zijn wensen voor de “hoe” gebaseerd op knelpunten, en daarmee ontwikkelpunten, in de huidige wereld. In onze optiek eventuele invullingen voor de geformuleerde behoefte erboven. </a:t>
            </a:r>
          </a:p>
        </p:txBody>
      </p:sp>
      <p:grpSp>
        <p:nvGrpSpPr>
          <p:cNvPr id="18" name="Group 439"/>
          <p:cNvGrpSpPr>
            <a:grpSpLocks noChangeAspect="1"/>
          </p:cNvGrpSpPr>
          <p:nvPr/>
        </p:nvGrpSpPr>
        <p:grpSpPr>
          <a:xfrm>
            <a:off x="1155600" y="2669310"/>
            <a:ext cx="477838" cy="480507"/>
            <a:chOff x="11223626" y="4299585"/>
            <a:chExt cx="284163" cy="285750"/>
          </a:xfrm>
        </p:grpSpPr>
        <p:sp>
          <p:nvSpPr>
            <p:cNvPr id="19" name="Freeform 327"/>
            <p:cNvSpPr>
              <a:spLocks/>
            </p:cNvSpPr>
            <p:nvPr/>
          </p:nvSpPr>
          <p:spPr bwMode="auto">
            <a:xfrm>
              <a:off x="11260138"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328"/>
            <p:cNvSpPr>
              <a:spLocks noEditPoints="1"/>
            </p:cNvSpPr>
            <p:nvPr/>
          </p:nvSpPr>
          <p:spPr bwMode="auto">
            <a:xfrm>
              <a:off x="11223626"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312"/>
          <p:cNvGrpSpPr>
            <a:grpSpLocks noChangeAspect="1"/>
          </p:cNvGrpSpPr>
          <p:nvPr/>
        </p:nvGrpSpPr>
        <p:grpSpPr>
          <a:xfrm>
            <a:off x="1155600" y="4839731"/>
            <a:ext cx="477838" cy="480753"/>
            <a:chOff x="2449513" y="950913"/>
            <a:chExt cx="260350" cy="261938"/>
          </a:xfrm>
        </p:grpSpPr>
        <p:sp>
          <p:nvSpPr>
            <p:cNvPr id="22" name="Freeform 164"/>
            <p:cNvSpPr>
              <a:spLocks/>
            </p:cNvSpPr>
            <p:nvPr/>
          </p:nvSpPr>
          <p:spPr bwMode="auto">
            <a:xfrm>
              <a:off x="2551113" y="1009650"/>
              <a:ext cx="49213" cy="93663"/>
            </a:xfrm>
            <a:custGeom>
              <a:avLst/>
              <a:gdLst>
                <a:gd name="T0" fmla="*/ 0 w 62"/>
                <a:gd name="T1" fmla="*/ 0 h 117"/>
                <a:gd name="T2" fmla="*/ 0 w 62"/>
                <a:gd name="T3" fmla="*/ 0 h 117"/>
                <a:gd name="T4" fmla="*/ 4 w 62"/>
                <a:gd name="T5" fmla="*/ 45 h 117"/>
                <a:gd name="T6" fmla="*/ 8 w 62"/>
                <a:gd name="T7" fmla="*/ 80 h 117"/>
                <a:gd name="T8" fmla="*/ 11 w 62"/>
                <a:gd name="T9" fmla="*/ 93 h 117"/>
                <a:gd name="T10" fmla="*/ 12 w 62"/>
                <a:gd name="T11" fmla="*/ 101 h 117"/>
                <a:gd name="T12" fmla="*/ 12 w 62"/>
                <a:gd name="T13" fmla="*/ 101 h 117"/>
                <a:gd name="T14" fmla="*/ 15 w 62"/>
                <a:gd name="T15" fmla="*/ 105 h 117"/>
                <a:gd name="T16" fmla="*/ 18 w 62"/>
                <a:gd name="T17" fmla="*/ 109 h 117"/>
                <a:gd name="T18" fmla="*/ 22 w 62"/>
                <a:gd name="T19" fmla="*/ 112 h 117"/>
                <a:gd name="T20" fmla="*/ 26 w 62"/>
                <a:gd name="T21" fmla="*/ 115 h 117"/>
                <a:gd name="T22" fmla="*/ 31 w 62"/>
                <a:gd name="T23" fmla="*/ 116 h 117"/>
                <a:gd name="T24" fmla="*/ 35 w 62"/>
                <a:gd name="T25" fmla="*/ 117 h 117"/>
                <a:gd name="T26" fmla="*/ 40 w 62"/>
                <a:gd name="T27" fmla="*/ 117 h 117"/>
                <a:gd name="T28" fmla="*/ 46 w 62"/>
                <a:gd name="T29" fmla="*/ 116 h 117"/>
                <a:gd name="T30" fmla="*/ 46 w 62"/>
                <a:gd name="T31" fmla="*/ 116 h 117"/>
                <a:gd name="T32" fmla="*/ 50 w 62"/>
                <a:gd name="T33" fmla="*/ 113 h 117"/>
                <a:gd name="T34" fmla="*/ 54 w 62"/>
                <a:gd name="T35" fmla="*/ 109 h 117"/>
                <a:gd name="T36" fmla="*/ 58 w 62"/>
                <a:gd name="T37" fmla="*/ 107 h 117"/>
                <a:gd name="T38" fmla="*/ 61 w 62"/>
                <a:gd name="T39" fmla="*/ 101 h 117"/>
                <a:gd name="T40" fmla="*/ 62 w 62"/>
                <a:gd name="T41" fmla="*/ 97 h 117"/>
                <a:gd name="T42" fmla="*/ 62 w 62"/>
                <a:gd name="T43" fmla="*/ 92 h 117"/>
                <a:gd name="T44" fmla="*/ 62 w 62"/>
                <a:gd name="T45" fmla="*/ 86 h 117"/>
                <a:gd name="T46" fmla="*/ 61 w 62"/>
                <a:gd name="T47" fmla="*/ 82 h 117"/>
                <a:gd name="T48" fmla="*/ 61 w 62"/>
                <a:gd name="T49" fmla="*/ 82 h 117"/>
                <a:gd name="T50" fmla="*/ 56 w 62"/>
                <a:gd name="T51" fmla="*/ 74 h 117"/>
                <a:gd name="T52" fmla="*/ 48 w 62"/>
                <a:gd name="T53" fmla="*/ 64 h 117"/>
                <a:gd name="T54" fmla="*/ 28 w 62"/>
                <a:gd name="T55" fmla="*/ 35 h 117"/>
                <a:gd name="T56" fmla="*/ 0 w 62"/>
                <a:gd name="T57" fmla="*/ 0 h 117"/>
                <a:gd name="T58" fmla="*/ 0 w 62"/>
                <a:gd name="T59"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 h="117">
                  <a:moveTo>
                    <a:pt x="0" y="0"/>
                  </a:moveTo>
                  <a:lnTo>
                    <a:pt x="0" y="0"/>
                  </a:lnTo>
                  <a:lnTo>
                    <a:pt x="4" y="45"/>
                  </a:lnTo>
                  <a:lnTo>
                    <a:pt x="8" y="80"/>
                  </a:lnTo>
                  <a:lnTo>
                    <a:pt x="11" y="93"/>
                  </a:lnTo>
                  <a:lnTo>
                    <a:pt x="12" y="101"/>
                  </a:lnTo>
                  <a:lnTo>
                    <a:pt x="12" y="101"/>
                  </a:lnTo>
                  <a:lnTo>
                    <a:pt x="15" y="105"/>
                  </a:lnTo>
                  <a:lnTo>
                    <a:pt x="18" y="109"/>
                  </a:lnTo>
                  <a:lnTo>
                    <a:pt x="22" y="112"/>
                  </a:lnTo>
                  <a:lnTo>
                    <a:pt x="26" y="115"/>
                  </a:lnTo>
                  <a:lnTo>
                    <a:pt x="31" y="116"/>
                  </a:lnTo>
                  <a:lnTo>
                    <a:pt x="35" y="117"/>
                  </a:lnTo>
                  <a:lnTo>
                    <a:pt x="40" y="117"/>
                  </a:lnTo>
                  <a:lnTo>
                    <a:pt x="46" y="116"/>
                  </a:lnTo>
                  <a:lnTo>
                    <a:pt x="46" y="116"/>
                  </a:lnTo>
                  <a:lnTo>
                    <a:pt x="50" y="113"/>
                  </a:lnTo>
                  <a:lnTo>
                    <a:pt x="54" y="109"/>
                  </a:lnTo>
                  <a:lnTo>
                    <a:pt x="58" y="107"/>
                  </a:lnTo>
                  <a:lnTo>
                    <a:pt x="61" y="101"/>
                  </a:lnTo>
                  <a:lnTo>
                    <a:pt x="62" y="97"/>
                  </a:lnTo>
                  <a:lnTo>
                    <a:pt x="62" y="92"/>
                  </a:lnTo>
                  <a:lnTo>
                    <a:pt x="62" y="86"/>
                  </a:lnTo>
                  <a:lnTo>
                    <a:pt x="61" y="82"/>
                  </a:lnTo>
                  <a:lnTo>
                    <a:pt x="61" y="82"/>
                  </a:lnTo>
                  <a:lnTo>
                    <a:pt x="56" y="74"/>
                  </a:lnTo>
                  <a:lnTo>
                    <a:pt x="48" y="64"/>
                  </a:lnTo>
                  <a:lnTo>
                    <a:pt x="28" y="35"/>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5"/>
            <p:cNvSpPr>
              <a:spLocks/>
            </p:cNvSpPr>
            <p:nvPr/>
          </p:nvSpPr>
          <p:spPr bwMode="auto">
            <a:xfrm>
              <a:off x="2571751" y="984250"/>
              <a:ext cx="15875" cy="31750"/>
            </a:xfrm>
            <a:custGeom>
              <a:avLst/>
              <a:gdLst>
                <a:gd name="T0" fmla="*/ 9 w 19"/>
                <a:gd name="T1" fmla="*/ 39 h 39"/>
                <a:gd name="T2" fmla="*/ 9 w 19"/>
                <a:gd name="T3" fmla="*/ 39 h 39"/>
                <a:gd name="T4" fmla="*/ 13 w 19"/>
                <a:gd name="T5" fmla="*/ 39 h 39"/>
                <a:gd name="T6" fmla="*/ 16 w 19"/>
                <a:gd name="T7" fmla="*/ 36 h 39"/>
                <a:gd name="T8" fmla="*/ 17 w 19"/>
                <a:gd name="T9" fmla="*/ 34 h 39"/>
                <a:gd name="T10" fmla="*/ 19 w 19"/>
                <a:gd name="T11" fmla="*/ 30 h 39"/>
                <a:gd name="T12" fmla="*/ 19 w 19"/>
                <a:gd name="T13" fmla="*/ 10 h 39"/>
                <a:gd name="T14" fmla="*/ 19 w 19"/>
                <a:gd name="T15" fmla="*/ 10 h 39"/>
                <a:gd name="T16" fmla="*/ 17 w 19"/>
                <a:gd name="T17" fmla="*/ 6 h 39"/>
                <a:gd name="T18" fmla="*/ 16 w 19"/>
                <a:gd name="T19" fmla="*/ 3 h 39"/>
                <a:gd name="T20" fmla="*/ 13 w 19"/>
                <a:gd name="T21" fmla="*/ 2 h 39"/>
                <a:gd name="T22" fmla="*/ 9 w 19"/>
                <a:gd name="T23" fmla="*/ 0 h 39"/>
                <a:gd name="T24" fmla="*/ 9 w 19"/>
                <a:gd name="T25" fmla="*/ 0 h 39"/>
                <a:gd name="T26" fmla="*/ 5 w 19"/>
                <a:gd name="T27" fmla="*/ 2 h 39"/>
                <a:gd name="T28" fmla="*/ 3 w 19"/>
                <a:gd name="T29" fmla="*/ 3 h 39"/>
                <a:gd name="T30" fmla="*/ 1 w 19"/>
                <a:gd name="T31" fmla="*/ 6 h 39"/>
                <a:gd name="T32" fmla="*/ 0 w 19"/>
                <a:gd name="T33" fmla="*/ 10 h 39"/>
                <a:gd name="T34" fmla="*/ 0 w 19"/>
                <a:gd name="T35" fmla="*/ 30 h 39"/>
                <a:gd name="T36" fmla="*/ 0 w 19"/>
                <a:gd name="T37" fmla="*/ 30 h 39"/>
                <a:gd name="T38" fmla="*/ 1 w 19"/>
                <a:gd name="T39" fmla="*/ 34 h 39"/>
                <a:gd name="T40" fmla="*/ 3 w 19"/>
                <a:gd name="T41" fmla="*/ 36 h 39"/>
                <a:gd name="T42" fmla="*/ 5 w 19"/>
                <a:gd name="T43" fmla="*/ 39 h 39"/>
                <a:gd name="T44" fmla="*/ 9 w 19"/>
                <a:gd name="T45" fmla="*/ 39 h 39"/>
                <a:gd name="T46" fmla="*/ 9 w 19"/>
                <a:gd name="T4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39">
                  <a:moveTo>
                    <a:pt x="9" y="39"/>
                  </a:moveTo>
                  <a:lnTo>
                    <a:pt x="9" y="39"/>
                  </a:lnTo>
                  <a:lnTo>
                    <a:pt x="13" y="39"/>
                  </a:lnTo>
                  <a:lnTo>
                    <a:pt x="16" y="36"/>
                  </a:lnTo>
                  <a:lnTo>
                    <a:pt x="17" y="34"/>
                  </a:lnTo>
                  <a:lnTo>
                    <a:pt x="19" y="30"/>
                  </a:lnTo>
                  <a:lnTo>
                    <a:pt x="19" y="10"/>
                  </a:lnTo>
                  <a:lnTo>
                    <a:pt x="19" y="10"/>
                  </a:lnTo>
                  <a:lnTo>
                    <a:pt x="17" y="6"/>
                  </a:lnTo>
                  <a:lnTo>
                    <a:pt x="16" y="3"/>
                  </a:lnTo>
                  <a:lnTo>
                    <a:pt x="13" y="2"/>
                  </a:lnTo>
                  <a:lnTo>
                    <a:pt x="9" y="0"/>
                  </a:lnTo>
                  <a:lnTo>
                    <a:pt x="9" y="0"/>
                  </a:lnTo>
                  <a:lnTo>
                    <a:pt x="5" y="2"/>
                  </a:lnTo>
                  <a:lnTo>
                    <a:pt x="3" y="3"/>
                  </a:lnTo>
                  <a:lnTo>
                    <a:pt x="1" y="6"/>
                  </a:lnTo>
                  <a:lnTo>
                    <a:pt x="0" y="10"/>
                  </a:lnTo>
                  <a:lnTo>
                    <a:pt x="0" y="30"/>
                  </a:lnTo>
                  <a:lnTo>
                    <a:pt x="0" y="30"/>
                  </a:lnTo>
                  <a:lnTo>
                    <a:pt x="1" y="34"/>
                  </a:lnTo>
                  <a:lnTo>
                    <a:pt x="3" y="36"/>
                  </a:lnTo>
                  <a:lnTo>
                    <a:pt x="5" y="39"/>
                  </a:lnTo>
                  <a:lnTo>
                    <a:pt x="9" y="39"/>
                  </a:lnTo>
                  <a:lnTo>
                    <a:pt x="9"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66"/>
            <p:cNvSpPr>
              <a:spLocks/>
            </p:cNvSpPr>
            <p:nvPr/>
          </p:nvSpPr>
          <p:spPr bwMode="auto">
            <a:xfrm>
              <a:off x="2624138" y="1011238"/>
              <a:ext cx="26988" cy="25400"/>
            </a:xfrm>
            <a:custGeom>
              <a:avLst/>
              <a:gdLst>
                <a:gd name="T0" fmla="*/ 31 w 33"/>
                <a:gd name="T1" fmla="*/ 2 h 32"/>
                <a:gd name="T2" fmla="*/ 31 w 33"/>
                <a:gd name="T3" fmla="*/ 2 h 32"/>
                <a:gd name="T4" fmla="*/ 27 w 33"/>
                <a:gd name="T5" fmla="*/ 0 h 32"/>
                <a:gd name="T6" fmla="*/ 24 w 33"/>
                <a:gd name="T7" fmla="*/ 0 h 32"/>
                <a:gd name="T8" fmla="*/ 20 w 33"/>
                <a:gd name="T9" fmla="*/ 0 h 32"/>
                <a:gd name="T10" fmla="*/ 17 w 33"/>
                <a:gd name="T11" fmla="*/ 2 h 32"/>
                <a:gd name="T12" fmla="*/ 2 w 33"/>
                <a:gd name="T13" fmla="*/ 17 h 32"/>
                <a:gd name="T14" fmla="*/ 2 w 33"/>
                <a:gd name="T15" fmla="*/ 17 h 32"/>
                <a:gd name="T16" fmla="*/ 1 w 33"/>
                <a:gd name="T17" fmla="*/ 20 h 32"/>
                <a:gd name="T18" fmla="*/ 0 w 33"/>
                <a:gd name="T19" fmla="*/ 24 h 32"/>
                <a:gd name="T20" fmla="*/ 0 w 33"/>
                <a:gd name="T21" fmla="*/ 24 h 32"/>
                <a:gd name="T22" fmla="*/ 1 w 33"/>
                <a:gd name="T23" fmla="*/ 27 h 32"/>
                <a:gd name="T24" fmla="*/ 2 w 33"/>
                <a:gd name="T25" fmla="*/ 29 h 32"/>
                <a:gd name="T26" fmla="*/ 2 w 33"/>
                <a:gd name="T27" fmla="*/ 29 h 32"/>
                <a:gd name="T28" fmla="*/ 5 w 33"/>
                <a:gd name="T29" fmla="*/ 32 h 32"/>
                <a:gd name="T30" fmla="*/ 9 w 33"/>
                <a:gd name="T31" fmla="*/ 32 h 32"/>
                <a:gd name="T32" fmla="*/ 9 w 33"/>
                <a:gd name="T33" fmla="*/ 32 h 32"/>
                <a:gd name="T34" fmla="*/ 13 w 33"/>
                <a:gd name="T35" fmla="*/ 32 h 32"/>
                <a:gd name="T36" fmla="*/ 16 w 33"/>
                <a:gd name="T37" fmla="*/ 29 h 32"/>
                <a:gd name="T38" fmla="*/ 31 w 33"/>
                <a:gd name="T39" fmla="*/ 16 h 32"/>
                <a:gd name="T40" fmla="*/ 31 w 33"/>
                <a:gd name="T41" fmla="*/ 16 h 32"/>
                <a:gd name="T42" fmla="*/ 32 w 33"/>
                <a:gd name="T43" fmla="*/ 12 h 32"/>
                <a:gd name="T44" fmla="*/ 33 w 33"/>
                <a:gd name="T45" fmla="*/ 9 h 32"/>
                <a:gd name="T46" fmla="*/ 32 w 33"/>
                <a:gd name="T47" fmla="*/ 5 h 32"/>
                <a:gd name="T48" fmla="*/ 31 w 33"/>
                <a:gd name="T49" fmla="*/ 2 h 32"/>
                <a:gd name="T50" fmla="*/ 31 w 33"/>
                <a:gd name="T51"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32">
                  <a:moveTo>
                    <a:pt x="31" y="2"/>
                  </a:moveTo>
                  <a:lnTo>
                    <a:pt x="31" y="2"/>
                  </a:lnTo>
                  <a:lnTo>
                    <a:pt x="27" y="0"/>
                  </a:lnTo>
                  <a:lnTo>
                    <a:pt x="24" y="0"/>
                  </a:lnTo>
                  <a:lnTo>
                    <a:pt x="20" y="0"/>
                  </a:lnTo>
                  <a:lnTo>
                    <a:pt x="17" y="2"/>
                  </a:lnTo>
                  <a:lnTo>
                    <a:pt x="2" y="17"/>
                  </a:lnTo>
                  <a:lnTo>
                    <a:pt x="2" y="17"/>
                  </a:lnTo>
                  <a:lnTo>
                    <a:pt x="1" y="20"/>
                  </a:lnTo>
                  <a:lnTo>
                    <a:pt x="0" y="24"/>
                  </a:lnTo>
                  <a:lnTo>
                    <a:pt x="0" y="24"/>
                  </a:lnTo>
                  <a:lnTo>
                    <a:pt x="1" y="27"/>
                  </a:lnTo>
                  <a:lnTo>
                    <a:pt x="2" y="29"/>
                  </a:lnTo>
                  <a:lnTo>
                    <a:pt x="2" y="29"/>
                  </a:lnTo>
                  <a:lnTo>
                    <a:pt x="5" y="32"/>
                  </a:lnTo>
                  <a:lnTo>
                    <a:pt x="9" y="32"/>
                  </a:lnTo>
                  <a:lnTo>
                    <a:pt x="9" y="32"/>
                  </a:lnTo>
                  <a:lnTo>
                    <a:pt x="13" y="32"/>
                  </a:lnTo>
                  <a:lnTo>
                    <a:pt x="16" y="29"/>
                  </a:lnTo>
                  <a:lnTo>
                    <a:pt x="31" y="16"/>
                  </a:lnTo>
                  <a:lnTo>
                    <a:pt x="31" y="16"/>
                  </a:lnTo>
                  <a:lnTo>
                    <a:pt x="32" y="12"/>
                  </a:lnTo>
                  <a:lnTo>
                    <a:pt x="33" y="9"/>
                  </a:lnTo>
                  <a:lnTo>
                    <a:pt x="32" y="5"/>
                  </a:lnTo>
                  <a:lnTo>
                    <a:pt x="31" y="2"/>
                  </a:lnTo>
                  <a:lnTo>
                    <a:pt x="31"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7"/>
            <p:cNvSpPr>
              <a:spLocks/>
            </p:cNvSpPr>
            <p:nvPr/>
          </p:nvSpPr>
          <p:spPr bwMode="auto">
            <a:xfrm>
              <a:off x="2646363" y="1074738"/>
              <a:ext cx="31750" cy="15875"/>
            </a:xfrm>
            <a:custGeom>
              <a:avLst/>
              <a:gdLst>
                <a:gd name="T0" fmla="*/ 31 w 40"/>
                <a:gd name="T1" fmla="*/ 0 h 19"/>
                <a:gd name="T2" fmla="*/ 9 w 40"/>
                <a:gd name="T3" fmla="*/ 0 h 19"/>
                <a:gd name="T4" fmla="*/ 9 w 40"/>
                <a:gd name="T5" fmla="*/ 0 h 19"/>
                <a:gd name="T6" fmla="*/ 6 w 40"/>
                <a:gd name="T7" fmla="*/ 0 h 19"/>
                <a:gd name="T8" fmla="*/ 2 w 40"/>
                <a:gd name="T9" fmla="*/ 3 h 19"/>
                <a:gd name="T10" fmla="*/ 1 w 40"/>
                <a:gd name="T11" fmla="*/ 6 h 19"/>
                <a:gd name="T12" fmla="*/ 0 w 40"/>
                <a:gd name="T13" fmla="*/ 10 h 19"/>
                <a:gd name="T14" fmla="*/ 0 w 40"/>
                <a:gd name="T15" fmla="*/ 10 h 19"/>
                <a:gd name="T16" fmla="*/ 1 w 40"/>
                <a:gd name="T17" fmla="*/ 12 h 19"/>
                <a:gd name="T18" fmla="*/ 2 w 40"/>
                <a:gd name="T19" fmla="*/ 15 h 19"/>
                <a:gd name="T20" fmla="*/ 6 w 40"/>
                <a:gd name="T21" fmla="*/ 18 h 19"/>
                <a:gd name="T22" fmla="*/ 9 w 40"/>
                <a:gd name="T23" fmla="*/ 19 h 19"/>
                <a:gd name="T24" fmla="*/ 31 w 40"/>
                <a:gd name="T25" fmla="*/ 19 h 19"/>
                <a:gd name="T26" fmla="*/ 31 w 40"/>
                <a:gd name="T27" fmla="*/ 19 h 19"/>
                <a:gd name="T28" fmla="*/ 33 w 40"/>
                <a:gd name="T29" fmla="*/ 18 h 19"/>
                <a:gd name="T30" fmla="*/ 37 w 40"/>
                <a:gd name="T31" fmla="*/ 15 h 19"/>
                <a:gd name="T32" fmla="*/ 39 w 40"/>
                <a:gd name="T33" fmla="*/ 12 h 19"/>
                <a:gd name="T34" fmla="*/ 40 w 40"/>
                <a:gd name="T35" fmla="*/ 10 h 19"/>
                <a:gd name="T36" fmla="*/ 40 w 40"/>
                <a:gd name="T37" fmla="*/ 10 h 19"/>
                <a:gd name="T38" fmla="*/ 39 w 40"/>
                <a:gd name="T39" fmla="*/ 6 h 19"/>
                <a:gd name="T40" fmla="*/ 37 w 40"/>
                <a:gd name="T41" fmla="*/ 3 h 19"/>
                <a:gd name="T42" fmla="*/ 33 w 40"/>
                <a:gd name="T43" fmla="*/ 0 h 19"/>
                <a:gd name="T44" fmla="*/ 31 w 40"/>
                <a:gd name="T45" fmla="*/ 0 h 19"/>
                <a:gd name="T46" fmla="*/ 31 w 40"/>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31" y="0"/>
                  </a:moveTo>
                  <a:lnTo>
                    <a:pt x="9" y="0"/>
                  </a:lnTo>
                  <a:lnTo>
                    <a:pt x="9" y="0"/>
                  </a:lnTo>
                  <a:lnTo>
                    <a:pt x="6" y="0"/>
                  </a:lnTo>
                  <a:lnTo>
                    <a:pt x="2" y="3"/>
                  </a:lnTo>
                  <a:lnTo>
                    <a:pt x="1" y="6"/>
                  </a:lnTo>
                  <a:lnTo>
                    <a:pt x="0" y="10"/>
                  </a:lnTo>
                  <a:lnTo>
                    <a:pt x="0" y="10"/>
                  </a:lnTo>
                  <a:lnTo>
                    <a:pt x="1" y="12"/>
                  </a:lnTo>
                  <a:lnTo>
                    <a:pt x="2" y="15"/>
                  </a:lnTo>
                  <a:lnTo>
                    <a:pt x="6" y="18"/>
                  </a:lnTo>
                  <a:lnTo>
                    <a:pt x="9" y="19"/>
                  </a:lnTo>
                  <a:lnTo>
                    <a:pt x="31" y="19"/>
                  </a:lnTo>
                  <a:lnTo>
                    <a:pt x="31" y="19"/>
                  </a:lnTo>
                  <a:lnTo>
                    <a:pt x="33" y="18"/>
                  </a:lnTo>
                  <a:lnTo>
                    <a:pt x="37" y="15"/>
                  </a:lnTo>
                  <a:lnTo>
                    <a:pt x="39" y="12"/>
                  </a:lnTo>
                  <a:lnTo>
                    <a:pt x="40" y="10"/>
                  </a:lnTo>
                  <a:lnTo>
                    <a:pt x="40" y="10"/>
                  </a:lnTo>
                  <a:lnTo>
                    <a:pt x="39" y="6"/>
                  </a:lnTo>
                  <a:lnTo>
                    <a:pt x="37" y="3"/>
                  </a:lnTo>
                  <a:lnTo>
                    <a:pt x="33" y="0"/>
                  </a:lnTo>
                  <a:lnTo>
                    <a:pt x="31" y="0"/>
                  </a:ln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68"/>
            <p:cNvSpPr>
              <a:spLocks/>
            </p:cNvSpPr>
            <p:nvPr/>
          </p:nvSpPr>
          <p:spPr bwMode="auto">
            <a:xfrm>
              <a:off x="2508251" y="1011238"/>
              <a:ext cx="26988" cy="25400"/>
            </a:xfrm>
            <a:custGeom>
              <a:avLst/>
              <a:gdLst>
                <a:gd name="T0" fmla="*/ 16 w 34"/>
                <a:gd name="T1" fmla="*/ 2 h 32"/>
                <a:gd name="T2" fmla="*/ 16 w 34"/>
                <a:gd name="T3" fmla="*/ 2 h 32"/>
                <a:gd name="T4" fmla="*/ 14 w 34"/>
                <a:gd name="T5" fmla="*/ 0 h 32"/>
                <a:gd name="T6" fmla="*/ 10 w 34"/>
                <a:gd name="T7" fmla="*/ 0 h 32"/>
                <a:gd name="T8" fmla="*/ 7 w 34"/>
                <a:gd name="T9" fmla="*/ 0 h 32"/>
                <a:gd name="T10" fmla="*/ 3 w 34"/>
                <a:gd name="T11" fmla="*/ 2 h 32"/>
                <a:gd name="T12" fmla="*/ 3 w 34"/>
                <a:gd name="T13" fmla="*/ 2 h 32"/>
                <a:gd name="T14" fmla="*/ 2 w 34"/>
                <a:gd name="T15" fmla="*/ 5 h 32"/>
                <a:gd name="T16" fmla="*/ 0 w 34"/>
                <a:gd name="T17" fmla="*/ 9 h 32"/>
                <a:gd name="T18" fmla="*/ 2 w 34"/>
                <a:gd name="T19" fmla="*/ 12 h 32"/>
                <a:gd name="T20" fmla="*/ 3 w 34"/>
                <a:gd name="T21" fmla="*/ 16 h 32"/>
                <a:gd name="T22" fmla="*/ 18 w 34"/>
                <a:gd name="T23" fmla="*/ 29 h 32"/>
                <a:gd name="T24" fmla="*/ 18 w 34"/>
                <a:gd name="T25" fmla="*/ 29 h 32"/>
                <a:gd name="T26" fmla="*/ 20 w 34"/>
                <a:gd name="T27" fmla="*/ 32 h 32"/>
                <a:gd name="T28" fmla="*/ 25 w 34"/>
                <a:gd name="T29" fmla="*/ 32 h 32"/>
                <a:gd name="T30" fmla="*/ 25 w 34"/>
                <a:gd name="T31" fmla="*/ 32 h 32"/>
                <a:gd name="T32" fmla="*/ 29 w 34"/>
                <a:gd name="T33" fmla="*/ 32 h 32"/>
                <a:gd name="T34" fmla="*/ 31 w 34"/>
                <a:gd name="T35" fmla="*/ 29 h 32"/>
                <a:gd name="T36" fmla="*/ 31 w 34"/>
                <a:gd name="T37" fmla="*/ 29 h 32"/>
                <a:gd name="T38" fmla="*/ 33 w 34"/>
                <a:gd name="T39" fmla="*/ 27 h 32"/>
                <a:gd name="T40" fmla="*/ 34 w 34"/>
                <a:gd name="T41" fmla="*/ 24 h 32"/>
                <a:gd name="T42" fmla="*/ 34 w 34"/>
                <a:gd name="T43" fmla="*/ 24 h 32"/>
                <a:gd name="T44" fmla="*/ 33 w 34"/>
                <a:gd name="T45" fmla="*/ 20 h 32"/>
                <a:gd name="T46" fmla="*/ 31 w 34"/>
                <a:gd name="T47" fmla="*/ 17 h 32"/>
                <a:gd name="T48" fmla="*/ 16 w 34"/>
                <a:gd name="T49"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32">
                  <a:moveTo>
                    <a:pt x="16" y="2"/>
                  </a:moveTo>
                  <a:lnTo>
                    <a:pt x="16" y="2"/>
                  </a:lnTo>
                  <a:lnTo>
                    <a:pt x="14" y="0"/>
                  </a:lnTo>
                  <a:lnTo>
                    <a:pt x="10" y="0"/>
                  </a:lnTo>
                  <a:lnTo>
                    <a:pt x="7" y="0"/>
                  </a:lnTo>
                  <a:lnTo>
                    <a:pt x="3" y="2"/>
                  </a:lnTo>
                  <a:lnTo>
                    <a:pt x="3" y="2"/>
                  </a:lnTo>
                  <a:lnTo>
                    <a:pt x="2" y="5"/>
                  </a:lnTo>
                  <a:lnTo>
                    <a:pt x="0" y="9"/>
                  </a:lnTo>
                  <a:lnTo>
                    <a:pt x="2" y="12"/>
                  </a:lnTo>
                  <a:lnTo>
                    <a:pt x="3" y="16"/>
                  </a:lnTo>
                  <a:lnTo>
                    <a:pt x="18" y="29"/>
                  </a:lnTo>
                  <a:lnTo>
                    <a:pt x="18" y="29"/>
                  </a:lnTo>
                  <a:lnTo>
                    <a:pt x="20" y="32"/>
                  </a:lnTo>
                  <a:lnTo>
                    <a:pt x="25" y="32"/>
                  </a:lnTo>
                  <a:lnTo>
                    <a:pt x="25" y="32"/>
                  </a:lnTo>
                  <a:lnTo>
                    <a:pt x="29" y="32"/>
                  </a:lnTo>
                  <a:lnTo>
                    <a:pt x="31" y="29"/>
                  </a:lnTo>
                  <a:lnTo>
                    <a:pt x="31" y="29"/>
                  </a:lnTo>
                  <a:lnTo>
                    <a:pt x="33" y="27"/>
                  </a:lnTo>
                  <a:lnTo>
                    <a:pt x="34" y="24"/>
                  </a:lnTo>
                  <a:lnTo>
                    <a:pt x="34" y="24"/>
                  </a:lnTo>
                  <a:lnTo>
                    <a:pt x="33" y="20"/>
                  </a:lnTo>
                  <a:lnTo>
                    <a:pt x="31" y="17"/>
                  </a:lnTo>
                  <a:lnTo>
                    <a:pt x="1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69"/>
            <p:cNvSpPr>
              <a:spLocks/>
            </p:cNvSpPr>
            <p:nvPr/>
          </p:nvSpPr>
          <p:spPr bwMode="auto">
            <a:xfrm>
              <a:off x="2481263" y="1074738"/>
              <a:ext cx="33338" cy="15875"/>
            </a:xfrm>
            <a:custGeom>
              <a:avLst/>
              <a:gdLst>
                <a:gd name="T0" fmla="*/ 31 w 40"/>
                <a:gd name="T1" fmla="*/ 0 h 19"/>
                <a:gd name="T2" fmla="*/ 9 w 40"/>
                <a:gd name="T3" fmla="*/ 0 h 19"/>
                <a:gd name="T4" fmla="*/ 9 w 40"/>
                <a:gd name="T5" fmla="*/ 0 h 19"/>
                <a:gd name="T6" fmla="*/ 6 w 40"/>
                <a:gd name="T7" fmla="*/ 0 h 19"/>
                <a:gd name="T8" fmla="*/ 2 w 40"/>
                <a:gd name="T9" fmla="*/ 3 h 19"/>
                <a:gd name="T10" fmla="*/ 1 w 40"/>
                <a:gd name="T11" fmla="*/ 6 h 19"/>
                <a:gd name="T12" fmla="*/ 0 w 40"/>
                <a:gd name="T13" fmla="*/ 10 h 19"/>
                <a:gd name="T14" fmla="*/ 0 w 40"/>
                <a:gd name="T15" fmla="*/ 10 h 19"/>
                <a:gd name="T16" fmla="*/ 1 w 40"/>
                <a:gd name="T17" fmla="*/ 12 h 19"/>
                <a:gd name="T18" fmla="*/ 2 w 40"/>
                <a:gd name="T19" fmla="*/ 15 h 19"/>
                <a:gd name="T20" fmla="*/ 6 w 40"/>
                <a:gd name="T21" fmla="*/ 18 h 19"/>
                <a:gd name="T22" fmla="*/ 9 w 40"/>
                <a:gd name="T23" fmla="*/ 19 h 19"/>
                <a:gd name="T24" fmla="*/ 31 w 40"/>
                <a:gd name="T25" fmla="*/ 19 h 19"/>
                <a:gd name="T26" fmla="*/ 31 w 40"/>
                <a:gd name="T27" fmla="*/ 19 h 19"/>
                <a:gd name="T28" fmla="*/ 33 w 40"/>
                <a:gd name="T29" fmla="*/ 18 h 19"/>
                <a:gd name="T30" fmla="*/ 37 w 40"/>
                <a:gd name="T31" fmla="*/ 15 h 19"/>
                <a:gd name="T32" fmla="*/ 39 w 40"/>
                <a:gd name="T33" fmla="*/ 12 h 19"/>
                <a:gd name="T34" fmla="*/ 40 w 40"/>
                <a:gd name="T35" fmla="*/ 10 h 19"/>
                <a:gd name="T36" fmla="*/ 40 w 40"/>
                <a:gd name="T37" fmla="*/ 10 h 19"/>
                <a:gd name="T38" fmla="*/ 39 w 40"/>
                <a:gd name="T39" fmla="*/ 6 h 19"/>
                <a:gd name="T40" fmla="*/ 37 w 40"/>
                <a:gd name="T41" fmla="*/ 3 h 19"/>
                <a:gd name="T42" fmla="*/ 33 w 40"/>
                <a:gd name="T43" fmla="*/ 0 h 19"/>
                <a:gd name="T44" fmla="*/ 31 w 40"/>
                <a:gd name="T45" fmla="*/ 0 h 19"/>
                <a:gd name="T46" fmla="*/ 31 w 40"/>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31" y="0"/>
                  </a:moveTo>
                  <a:lnTo>
                    <a:pt x="9" y="0"/>
                  </a:lnTo>
                  <a:lnTo>
                    <a:pt x="9" y="0"/>
                  </a:lnTo>
                  <a:lnTo>
                    <a:pt x="6" y="0"/>
                  </a:lnTo>
                  <a:lnTo>
                    <a:pt x="2" y="3"/>
                  </a:lnTo>
                  <a:lnTo>
                    <a:pt x="1" y="6"/>
                  </a:lnTo>
                  <a:lnTo>
                    <a:pt x="0" y="10"/>
                  </a:lnTo>
                  <a:lnTo>
                    <a:pt x="0" y="10"/>
                  </a:lnTo>
                  <a:lnTo>
                    <a:pt x="1" y="12"/>
                  </a:lnTo>
                  <a:lnTo>
                    <a:pt x="2" y="15"/>
                  </a:lnTo>
                  <a:lnTo>
                    <a:pt x="6" y="18"/>
                  </a:lnTo>
                  <a:lnTo>
                    <a:pt x="9" y="19"/>
                  </a:lnTo>
                  <a:lnTo>
                    <a:pt x="31" y="19"/>
                  </a:lnTo>
                  <a:lnTo>
                    <a:pt x="31" y="19"/>
                  </a:lnTo>
                  <a:lnTo>
                    <a:pt x="33" y="18"/>
                  </a:lnTo>
                  <a:lnTo>
                    <a:pt x="37" y="15"/>
                  </a:lnTo>
                  <a:lnTo>
                    <a:pt x="39" y="12"/>
                  </a:lnTo>
                  <a:lnTo>
                    <a:pt x="40" y="10"/>
                  </a:lnTo>
                  <a:lnTo>
                    <a:pt x="40" y="10"/>
                  </a:lnTo>
                  <a:lnTo>
                    <a:pt x="39" y="6"/>
                  </a:lnTo>
                  <a:lnTo>
                    <a:pt x="37" y="3"/>
                  </a:lnTo>
                  <a:lnTo>
                    <a:pt x="33" y="0"/>
                  </a:lnTo>
                  <a:lnTo>
                    <a:pt x="31" y="0"/>
                  </a:ln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70"/>
            <p:cNvSpPr>
              <a:spLocks noEditPoints="1"/>
            </p:cNvSpPr>
            <p:nvPr/>
          </p:nvSpPr>
          <p:spPr bwMode="auto">
            <a:xfrm>
              <a:off x="2449513" y="950913"/>
              <a:ext cx="260350" cy="261938"/>
            </a:xfrm>
            <a:custGeom>
              <a:avLst/>
              <a:gdLst>
                <a:gd name="T0" fmla="*/ 164 w 328"/>
                <a:gd name="T1" fmla="*/ 0 h 329"/>
                <a:gd name="T2" fmla="*/ 131 w 328"/>
                <a:gd name="T3" fmla="*/ 4 h 329"/>
                <a:gd name="T4" fmla="*/ 100 w 328"/>
                <a:gd name="T5" fmla="*/ 13 h 329"/>
                <a:gd name="T6" fmla="*/ 73 w 328"/>
                <a:gd name="T7" fmla="*/ 28 h 329"/>
                <a:gd name="T8" fmla="*/ 49 w 328"/>
                <a:gd name="T9" fmla="*/ 48 h 329"/>
                <a:gd name="T10" fmla="*/ 29 w 328"/>
                <a:gd name="T11" fmla="*/ 72 h 329"/>
                <a:gd name="T12" fmla="*/ 13 w 328"/>
                <a:gd name="T13" fmla="*/ 100 h 329"/>
                <a:gd name="T14" fmla="*/ 3 w 328"/>
                <a:gd name="T15" fmla="*/ 131 h 329"/>
                <a:gd name="T16" fmla="*/ 0 w 328"/>
                <a:gd name="T17" fmla="*/ 165 h 329"/>
                <a:gd name="T18" fmla="*/ 0 w 328"/>
                <a:gd name="T19" fmla="*/ 181 h 329"/>
                <a:gd name="T20" fmla="*/ 7 w 328"/>
                <a:gd name="T21" fmla="*/ 213 h 329"/>
                <a:gd name="T22" fmla="*/ 19 w 328"/>
                <a:gd name="T23" fmla="*/ 243 h 329"/>
                <a:gd name="T24" fmla="*/ 38 w 328"/>
                <a:gd name="T25" fmla="*/ 268 h 329"/>
                <a:gd name="T26" fmla="*/ 60 w 328"/>
                <a:gd name="T27" fmla="*/ 291 h 329"/>
                <a:gd name="T28" fmla="*/ 86 w 328"/>
                <a:gd name="T29" fmla="*/ 309 h 329"/>
                <a:gd name="T30" fmla="*/ 116 w 328"/>
                <a:gd name="T31" fmla="*/ 322 h 329"/>
                <a:gd name="T32" fmla="*/ 148 w 328"/>
                <a:gd name="T33" fmla="*/ 327 h 329"/>
                <a:gd name="T34" fmla="*/ 164 w 328"/>
                <a:gd name="T35" fmla="*/ 329 h 329"/>
                <a:gd name="T36" fmla="*/ 198 w 328"/>
                <a:gd name="T37" fmla="*/ 326 h 329"/>
                <a:gd name="T38" fmla="*/ 229 w 328"/>
                <a:gd name="T39" fmla="*/ 315 h 329"/>
                <a:gd name="T40" fmla="*/ 256 w 328"/>
                <a:gd name="T41" fmla="*/ 300 h 329"/>
                <a:gd name="T42" fmla="*/ 280 w 328"/>
                <a:gd name="T43" fmla="*/ 280 h 329"/>
                <a:gd name="T44" fmla="*/ 300 w 328"/>
                <a:gd name="T45" fmla="*/ 256 h 329"/>
                <a:gd name="T46" fmla="*/ 316 w 328"/>
                <a:gd name="T47" fmla="*/ 228 h 329"/>
                <a:gd name="T48" fmla="*/ 326 w 328"/>
                <a:gd name="T49" fmla="*/ 197 h 329"/>
                <a:gd name="T50" fmla="*/ 328 w 328"/>
                <a:gd name="T51" fmla="*/ 165 h 329"/>
                <a:gd name="T52" fmla="*/ 328 w 328"/>
                <a:gd name="T53" fmla="*/ 147 h 329"/>
                <a:gd name="T54" fmla="*/ 322 w 328"/>
                <a:gd name="T55" fmla="*/ 115 h 329"/>
                <a:gd name="T56" fmla="*/ 309 w 328"/>
                <a:gd name="T57" fmla="*/ 86 h 329"/>
                <a:gd name="T58" fmla="*/ 291 w 328"/>
                <a:gd name="T59" fmla="*/ 60 h 329"/>
                <a:gd name="T60" fmla="*/ 269 w 328"/>
                <a:gd name="T61" fmla="*/ 37 h 329"/>
                <a:gd name="T62" fmla="*/ 242 w 328"/>
                <a:gd name="T63" fmla="*/ 20 h 329"/>
                <a:gd name="T64" fmla="*/ 213 w 328"/>
                <a:gd name="T65" fmla="*/ 8 h 329"/>
                <a:gd name="T66" fmla="*/ 180 w 328"/>
                <a:gd name="T67" fmla="*/ 1 h 329"/>
                <a:gd name="T68" fmla="*/ 164 w 328"/>
                <a:gd name="T69" fmla="*/ 0 h 329"/>
                <a:gd name="T70" fmla="*/ 29 w 328"/>
                <a:gd name="T71" fmla="*/ 217 h 329"/>
                <a:gd name="T72" fmla="*/ 21 w 328"/>
                <a:gd name="T73" fmla="*/ 192 h 329"/>
                <a:gd name="T74" fmla="*/ 18 w 328"/>
                <a:gd name="T75" fmla="*/ 165 h 329"/>
                <a:gd name="T76" fmla="*/ 19 w 328"/>
                <a:gd name="T77" fmla="*/ 150 h 329"/>
                <a:gd name="T78" fmla="*/ 25 w 328"/>
                <a:gd name="T79" fmla="*/ 120 h 329"/>
                <a:gd name="T80" fmla="*/ 35 w 328"/>
                <a:gd name="T81" fmla="*/ 95 h 329"/>
                <a:gd name="T82" fmla="*/ 52 w 328"/>
                <a:gd name="T83" fmla="*/ 72 h 329"/>
                <a:gd name="T84" fmla="*/ 72 w 328"/>
                <a:gd name="T85" fmla="*/ 52 h 329"/>
                <a:gd name="T86" fmla="*/ 94 w 328"/>
                <a:gd name="T87" fmla="*/ 36 h 329"/>
                <a:gd name="T88" fmla="*/ 121 w 328"/>
                <a:gd name="T89" fmla="*/ 25 h 329"/>
                <a:gd name="T90" fmla="*/ 150 w 328"/>
                <a:gd name="T91" fmla="*/ 20 h 329"/>
                <a:gd name="T92" fmla="*/ 164 w 328"/>
                <a:gd name="T93" fmla="*/ 18 h 329"/>
                <a:gd name="T94" fmla="*/ 194 w 328"/>
                <a:gd name="T95" fmla="*/ 21 h 329"/>
                <a:gd name="T96" fmla="*/ 221 w 328"/>
                <a:gd name="T97" fmla="*/ 30 h 329"/>
                <a:gd name="T98" fmla="*/ 246 w 328"/>
                <a:gd name="T99" fmla="*/ 44 h 329"/>
                <a:gd name="T100" fmla="*/ 268 w 328"/>
                <a:gd name="T101" fmla="*/ 61 h 329"/>
                <a:gd name="T102" fmla="*/ 285 w 328"/>
                <a:gd name="T103" fmla="*/ 83 h 329"/>
                <a:gd name="T104" fmla="*/ 299 w 328"/>
                <a:gd name="T105" fmla="*/ 107 h 329"/>
                <a:gd name="T106" fmla="*/ 307 w 328"/>
                <a:gd name="T107" fmla="*/ 135 h 329"/>
                <a:gd name="T108" fmla="*/ 311 w 328"/>
                <a:gd name="T109" fmla="*/ 165 h 329"/>
                <a:gd name="T110" fmla="*/ 309 w 328"/>
                <a:gd name="T111" fmla="*/ 178 h 329"/>
                <a:gd name="T112" fmla="*/ 305 w 328"/>
                <a:gd name="T113" fmla="*/ 204 h 329"/>
                <a:gd name="T114" fmla="*/ 29 w 328"/>
                <a:gd name="T115" fmla="*/ 21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8" h="329">
                  <a:moveTo>
                    <a:pt x="164" y="0"/>
                  </a:moveTo>
                  <a:lnTo>
                    <a:pt x="164" y="0"/>
                  </a:lnTo>
                  <a:lnTo>
                    <a:pt x="148" y="1"/>
                  </a:lnTo>
                  <a:lnTo>
                    <a:pt x="131" y="4"/>
                  </a:lnTo>
                  <a:lnTo>
                    <a:pt x="116" y="8"/>
                  </a:lnTo>
                  <a:lnTo>
                    <a:pt x="100" y="13"/>
                  </a:lnTo>
                  <a:lnTo>
                    <a:pt x="86" y="20"/>
                  </a:lnTo>
                  <a:lnTo>
                    <a:pt x="73" y="28"/>
                  </a:lnTo>
                  <a:lnTo>
                    <a:pt x="60" y="37"/>
                  </a:lnTo>
                  <a:lnTo>
                    <a:pt x="49" y="48"/>
                  </a:lnTo>
                  <a:lnTo>
                    <a:pt x="38" y="60"/>
                  </a:lnTo>
                  <a:lnTo>
                    <a:pt x="29" y="72"/>
                  </a:lnTo>
                  <a:lnTo>
                    <a:pt x="19" y="86"/>
                  </a:lnTo>
                  <a:lnTo>
                    <a:pt x="13" y="100"/>
                  </a:lnTo>
                  <a:lnTo>
                    <a:pt x="7" y="115"/>
                  </a:lnTo>
                  <a:lnTo>
                    <a:pt x="3" y="131"/>
                  </a:lnTo>
                  <a:lnTo>
                    <a:pt x="0" y="147"/>
                  </a:lnTo>
                  <a:lnTo>
                    <a:pt x="0" y="165"/>
                  </a:lnTo>
                  <a:lnTo>
                    <a:pt x="0" y="165"/>
                  </a:lnTo>
                  <a:lnTo>
                    <a:pt x="0" y="181"/>
                  </a:lnTo>
                  <a:lnTo>
                    <a:pt x="3" y="197"/>
                  </a:lnTo>
                  <a:lnTo>
                    <a:pt x="7" y="213"/>
                  </a:lnTo>
                  <a:lnTo>
                    <a:pt x="13" y="228"/>
                  </a:lnTo>
                  <a:lnTo>
                    <a:pt x="19" y="243"/>
                  </a:lnTo>
                  <a:lnTo>
                    <a:pt x="29" y="256"/>
                  </a:lnTo>
                  <a:lnTo>
                    <a:pt x="38" y="268"/>
                  </a:lnTo>
                  <a:lnTo>
                    <a:pt x="49" y="280"/>
                  </a:lnTo>
                  <a:lnTo>
                    <a:pt x="60" y="291"/>
                  </a:lnTo>
                  <a:lnTo>
                    <a:pt x="73" y="300"/>
                  </a:lnTo>
                  <a:lnTo>
                    <a:pt x="86" y="309"/>
                  </a:lnTo>
                  <a:lnTo>
                    <a:pt x="100" y="315"/>
                  </a:lnTo>
                  <a:lnTo>
                    <a:pt x="116" y="322"/>
                  </a:lnTo>
                  <a:lnTo>
                    <a:pt x="131" y="326"/>
                  </a:lnTo>
                  <a:lnTo>
                    <a:pt x="148" y="327"/>
                  </a:lnTo>
                  <a:lnTo>
                    <a:pt x="164" y="329"/>
                  </a:lnTo>
                  <a:lnTo>
                    <a:pt x="164" y="329"/>
                  </a:lnTo>
                  <a:lnTo>
                    <a:pt x="180" y="327"/>
                  </a:lnTo>
                  <a:lnTo>
                    <a:pt x="198" y="326"/>
                  </a:lnTo>
                  <a:lnTo>
                    <a:pt x="213" y="322"/>
                  </a:lnTo>
                  <a:lnTo>
                    <a:pt x="229" y="315"/>
                  </a:lnTo>
                  <a:lnTo>
                    <a:pt x="242" y="309"/>
                  </a:lnTo>
                  <a:lnTo>
                    <a:pt x="256" y="300"/>
                  </a:lnTo>
                  <a:lnTo>
                    <a:pt x="269" y="291"/>
                  </a:lnTo>
                  <a:lnTo>
                    <a:pt x="280" y="280"/>
                  </a:lnTo>
                  <a:lnTo>
                    <a:pt x="291" y="268"/>
                  </a:lnTo>
                  <a:lnTo>
                    <a:pt x="300" y="256"/>
                  </a:lnTo>
                  <a:lnTo>
                    <a:pt x="309" y="243"/>
                  </a:lnTo>
                  <a:lnTo>
                    <a:pt x="316" y="228"/>
                  </a:lnTo>
                  <a:lnTo>
                    <a:pt x="322" y="213"/>
                  </a:lnTo>
                  <a:lnTo>
                    <a:pt x="326" y="197"/>
                  </a:lnTo>
                  <a:lnTo>
                    <a:pt x="328" y="181"/>
                  </a:lnTo>
                  <a:lnTo>
                    <a:pt x="328" y="165"/>
                  </a:lnTo>
                  <a:lnTo>
                    <a:pt x="328" y="165"/>
                  </a:lnTo>
                  <a:lnTo>
                    <a:pt x="328" y="147"/>
                  </a:lnTo>
                  <a:lnTo>
                    <a:pt x="326" y="131"/>
                  </a:lnTo>
                  <a:lnTo>
                    <a:pt x="322" y="115"/>
                  </a:lnTo>
                  <a:lnTo>
                    <a:pt x="316" y="100"/>
                  </a:lnTo>
                  <a:lnTo>
                    <a:pt x="309" y="86"/>
                  </a:lnTo>
                  <a:lnTo>
                    <a:pt x="300" y="72"/>
                  </a:lnTo>
                  <a:lnTo>
                    <a:pt x="291" y="60"/>
                  </a:lnTo>
                  <a:lnTo>
                    <a:pt x="280" y="48"/>
                  </a:lnTo>
                  <a:lnTo>
                    <a:pt x="269" y="37"/>
                  </a:lnTo>
                  <a:lnTo>
                    <a:pt x="256" y="28"/>
                  </a:lnTo>
                  <a:lnTo>
                    <a:pt x="242" y="20"/>
                  </a:lnTo>
                  <a:lnTo>
                    <a:pt x="229" y="13"/>
                  </a:lnTo>
                  <a:lnTo>
                    <a:pt x="213" y="8"/>
                  </a:lnTo>
                  <a:lnTo>
                    <a:pt x="198" y="4"/>
                  </a:lnTo>
                  <a:lnTo>
                    <a:pt x="180" y="1"/>
                  </a:lnTo>
                  <a:lnTo>
                    <a:pt x="164" y="0"/>
                  </a:lnTo>
                  <a:lnTo>
                    <a:pt x="164" y="0"/>
                  </a:lnTo>
                  <a:close/>
                  <a:moveTo>
                    <a:pt x="29" y="217"/>
                  </a:moveTo>
                  <a:lnTo>
                    <a:pt x="29" y="217"/>
                  </a:lnTo>
                  <a:lnTo>
                    <a:pt x="23" y="204"/>
                  </a:lnTo>
                  <a:lnTo>
                    <a:pt x="21" y="192"/>
                  </a:lnTo>
                  <a:lnTo>
                    <a:pt x="19" y="178"/>
                  </a:lnTo>
                  <a:lnTo>
                    <a:pt x="18" y="165"/>
                  </a:lnTo>
                  <a:lnTo>
                    <a:pt x="18" y="165"/>
                  </a:lnTo>
                  <a:lnTo>
                    <a:pt x="19" y="150"/>
                  </a:lnTo>
                  <a:lnTo>
                    <a:pt x="22" y="135"/>
                  </a:lnTo>
                  <a:lnTo>
                    <a:pt x="25" y="120"/>
                  </a:lnTo>
                  <a:lnTo>
                    <a:pt x="30" y="107"/>
                  </a:lnTo>
                  <a:lnTo>
                    <a:pt x="35" y="95"/>
                  </a:lnTo>
                  <a:lnTo>
                    <a:pt x="43" y="83"/>
                  </a:lnTo>
                  <a:lnTo>
                    <a:pt x="52" y="72"/>
                  </a:lnTo>
                  <a:lnTo>
                    <a:pt x="61" y="61"/>
                  </a:lnTo>
                  <a:lnTo>
                    <a:pt x="72" y="52"/>
                  </a:lnTo>
                  <a:lnTo>
                    <a:pt x="82" y="44"/>
                  </a:lnTo>
                  <a:lnTo>
                    <a:pt x="94" y="36"/>
                  </a:lnTo>
                  <a:lnTo>
                    <a:pt x="108" y="30"/>
                  </a:lnTo>
                  <a:lnTo>
                    <a:pt x="121" y="25"/>
                  </a:lnTo>
                  <a:lnTo>
                    <a:pt x="135" y="21"/>
                  </a:lnTo>
                  <a:lnTo>
                    <a:pt x="150" y="20"/>
                  </a:lnTo>
                  <a:lnTo>
                    <a:pt x="164" y="18"/>
                  </a:lnTo>
                  <a:lnTo>
                    <a:pt x="164" y="18"/>
                  </a:lnTo>
                  <a:lnTo>
                    <a:pt x="179" y="20"/>
                  </a:lnTo>
                  <a:lnTo>
                    <a:pt x="194" y="21"/>
                  </a:lnTo>
                  <a:lnTo>
                    <a:pt x="207" y="25"/>
                  </a:lnTo>
                  <a:lnTo>
                    <a:pt x="221" y="30"/>
                  </a:lnTo>
                  <a:lnTo>
                    <a:pt x="234" y="36"/>
                  </a:lnTo>
                  <a:lnTo>
                    <a:pt x="246" y="44"/>
                  </a:lnTo>
                  <a:lnTo>
                    <a:pt x="257" y="52"/>
                  </a:lnTo>
                  <a:lnTo>
                    <a:pt x="268" y="61"/>
                  </a:lnTo>
                  <a:lnTo>
                    <a:pt x="277" y="72"/>
                  </a:lnTo>
                  <a:lnTo>
                    <a:pt x="285" y="83"/>
                  </a:lnTo>
                  <a:lnTo>
                    <a:pt x="293" y="95"/>
                  </a:lnTo>
                  <a:lnTo>
                    <a:pt x="299" y="107"/>
                  </a:lnTo>
                  <a:lnTo>
                    <a:pt x="304" y="120"/>
                  </a:lnTo>
                  <a:lnTo>
                    <a:pt x="307" y="135"/>
                  </a:lnTo>
                  <a:lnTo>
                    <a:pt x="309" y="150"/>
                  </a:lnTo>
                  <a:lnTo>
                    <a:pt x="311" y="165"/>
                  </a:lnTo>
                  <a:lnTo>
                    <a:pt x="311" y="165"/>
                  </a:lnTo>
                  <a:lnTo>
                    <a:pt x="309" y="178"/>
                  </a:lnTo>
                  <a:lnTo>
                    <a:pt x="308" y="192"/>
                  </a:lnTo>
                  <a:lnTo>
                    <a:pt x="305" y="204"/>
                  </a:lnTo>
                  <a:lnTo>
                    <a:pt x="300" y="217"/>
                  </a:lnTo>
                  <a:lnTo>
                    <a:pt x="29" y="2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ijdelijke aanduiding voor voettekst 2"/>
          <p:cNvSpPr>
            <a:spLocks noGrp="1"/>
          </p:cNvSpPr>
          <p:nvPr>
            <p:ph type="ftr" sz="quarter" idx="15"/>
          </p:nvPr>
        </p:nvSpPr>
        <p:spPr/>
        <p:txBody>
          <a:bodyPr/>
          <a:lstStyle/>
          <a:p>
            <a:r>
              <a:rPr lang="nl-NL"/>
              <a:t>Behoefte functionele migratie SMZ</a:t>
            </a:r>
            <a:endParaRPr lang="en-GB" dirty="0"/>
          </a:p>
        </p:txBody>
      </p:sp>
      <p:sp>
        <p:nvSpPr>
          <p:cNvPr id="4" name="Tijdelijke aanduiding voor dianummer 3"/>
          <p:cNvSpPr>
            <a:spLocks noGrp="1"/>
          </p:cNvSpPr>
          <p:nvPr>
            <p:ph type="sldNum" sz="quarter" idx="16"/>
          </p:nvPr>
        </p:nvSpPr>
        <p:spPr/>
        <p:txBody>
          <a:bodyPr/>
          <a:lstStyle/>
          <a:p>
            <a:fld id="{EEC0F82C-4994-47DA-8D9B-99D78D224F6D}" type="slidenum">
              <a:rPr lang="en-GB" smtClean="0"/>
              <a:pPr/>
              <a:t>6</a:t>
            </a:fld>
            <a:endParaRPr lang="en-GB" dirty="0"/>
          </a:p>
        </p:txBody>
      </p:sp>
    </p:spTree>
    <p:extLst>
      <p:ext uri="{BB962C8B-B14F-4D97-AF65-F5344CB8AC3E}">
        <p14:creationId xmlns:p14="http://schemas.microsoft.com/office/powerpoint/2010/main" val="36782637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sz="quarter" idx="14"/>
          </p:nvPr>
        </p:nvSpPr>
        <p:spPr/>
        <p:txBody>
          <a:bodyPr/>
          <a:lstStyle/>
          <a:p>
            <a:pPr marL="0" indent="0">
              <a:buNone/>
            </a:pPr>
            <a:r>
              <a:rPr lang="nl-NL" dirty="0"/>
              <a:t>Deze behoeften zijn op vier niveaus geformuleerd:</a:t>
            </a:r>
          </a:p>
          <a:p>
            <a:pPr lvl="1"/>
            <a:r>
              <a:rPr lang="nl-NL" dirty="0"/>
              <a:t>Inhoud</a:t>
            </a:r>
          </a:p>
          <a:p>
            <a:pPr lvl="1"/>
            <a:r>
              <a:rPr lang="nl-NL" dirty="0"/>
              <a:t>Proces</a:t>
            </a:r>
          </a:p>
          <a:p>
            <a:pPr lvl="1"/>
            <a:r>
              <a:rPr lang="nl-NL" dirty="0"/>
              <a:t>Performance</a:t>
            </a:r>
          </a:p>
          <a:p>
            <a:pPr lvl="1"/>
            <a:r>
              <a:rPr lang="nl-NL" dirty="0"/>
              <a:t>Organisatie </a:t>
            </a:r>
          </a:p>
          <a:p>
            <a:endParaRPr lang="nl-NL" dirty="0"/>
          </a:p>
          <a:p>
            <a:pPr marL="0" indent="0">
              <a:buNone/>
            </a:pPr>
            <a:r>
              <a:rPr lang="nl-NL" dirty="0"/>
              <a:t>Vanuit de ervaring opgedaan met de technische migratie en de huidige werkwijze van DWH geven we per niveau hierboven aan wat we wel en wat we niet willen</a:t>
            </a:r>
          </a:p>
          <a:p>
            <a:endParaRPr lang="nl-NL" dirty="0"/>
          </a:p>
        </p:txBody>
      </p:sp>
      <p:sp>
        <p:nvSpPr>
          <p:cNvPr id="3" name="Tijdelijke aanduiding voor voettekst 2"/>
          <p:cNvSpPr>
            <a:spLocks noGrp="1"/>
          </p:cNvSpPr>
          <p:nvPr>
            <p:ph type="ftr" sz="quarter" idx="15"/>
          </p:nvPr>
        </p:nvSpPr>
        <p:spPr/>
        <p:txBody>
          <a:bodyPr/>
          <a:lstStyle/>
          <a:p>
            <a:r>
              <a:rPr lang="nl-NL"/>
              <a:t>Behoefte functionele migratie SMZ</a:t>
            </a:r>
            <a:endParaRPr lang="en-GB" dirty="0"/>
          </a:p>
        </p:txBody>
      </p:sp>
      <p:sp>
        <p:nvSpPr>
          <p:cNvPr id="4" name="Tijdelijke aanduiding voor dianummer 3"/>
          <p:cNvSpPr>
            <a:spLocks noGrp="1"/>
          </p:cNvSpPr>
          <p:nvPr>
            <p:ph type="sldNum" sz="quarter" idx="16"/>
          </p:nvPr>
        </p:nvSpPr>
        <p:spPr/>
        <p:txBody>
          <a:bodyPr/>
          <a:lstStyle/>
          <a:p>
            <a:fld id="{EEC0F82C-4994-47DA-8D9B-99D78D224F6D}" type="slidenum">
              <a:rPr lang="en-GB" smtClean="0"/>
              <a:pPr/>
              <a:t>7</a:t>
            </a:fld>
            <a:endParaRPr lang="en-GB" dirty="0"/>
          </a:p>
        </p:txBody>
      </p:sp>
      <p:sp>
        <p:nvSpPr>
          <p:cNvPr id="6" name="Rechthoek 5"/>
          <p:cNvSpPr/>
          <p:nvPr/>
        </p:nvSpPr>
        <p:spPr>
          <a:xfrm>
            <a:off x="571499" y="288447"/>
            <a:ext cx="7200000" cy="19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all" spc="0" normalizeH="0" baseline="0" noProof="0" dirty="0">
                <a:ln>
                  <a:noFill/>
                </a:ln>
                <a:solidFill>
                  <a:srgbClr val="FFFFFF">
                    <a:lumMod val="85000"/>
                  </a:srgbClr>
                </a:solidFill>
                <a:effectLst/>
                <a:uLnTx/>
                <a:uFillTx/>
                <a:latin typeface="Verdana"/>
                <a:ea typeface="+mn-ea"/>
                <a:cs typeface="+mn-cs"/>
              </a:rPr>
              <a:t>Operationele behoefte (1/6)</a:t>
            </a:r>
          </a:p>
        </p:txBody>
      </p:sp>
      <p:sp>
        <p:nvSpPr>
          <p:cNvPr id="7" name="Titel 4"/>
          <p:cNvSpPr txBox="1">
            <a:spLocks/>
          </p:cNvSpPr>
          <p:nvPr/>
        </p:nvSpPr>
        <p:spPr bwMode="gray">
          <a:xfrm>
            <a:off x="571500" y="542166"/>
            <a:ext cx="11049000" cy="981834"/>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400" b="1" kern="1200">
                <a:solidFill>
                  <a:schemeClr val="tx2"/>
                </a:solidFill>
                <a:latin typeface="+mj-lt"/>
                <a:ea typeface="+mj-ea"/>
                <a:cs typeface="+mj-cs"/>
              </a:defRPr>
            </a:lvl1pPr>
          </a:lstStyle>
          <a:p>
            <a:pPr lvl="0">
              <a:defRPr/>
            </a:pPr>
            <a:r>
              <a:rPr lang="nl-NL" noProof="0" dirty="0">
                <a:solidFill>
                  <a:srgbClr val="003282"/>
                </a:solidFill>
              </a:rPr>
              <a:t>De operationele behoefte heeft SMZ ingedeeld naar de niveaus inhoud, proces, performance en organisatie</a:t>
            </a:r>
            <a:endParaRPr kumimoji="0" lang="nl-NL" sz="2400" b="1" i="0" u="none" strike="noStrike" kern="1200" cap="none" spc="0" normalizeH="0" baseline="0" noProof="0" dirty="0">
              <a:ln>
                <a:noFill/>
              </a:ln>
              <a:solidFill>
                <a:srgbClr val="003282"/>
              </a:solidFill>
              <a:effectLst/>
              <a:uLnTx/>
              <a:uFillTx/>
              <a:latin typeface="Verdana"/>
              <a:ea typeface="+mj-ea"/>
              <a:cs typeface="+mj-cs"/>
            </a:endParaRPr>
          </a:p>
        </p:txBody>
      </p:sp>
    </p:spTree>
    <p:extLst>
      <p:ext uri="{BB962C8B-B14F-4D97-AF65-F5344CB8AC3E}">
        <p14:creationId xmlns:p14="http://schemas.microsoft.com/office/powerpoint/2010/main" val="26874208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sz="quarter" idx="15"/>
          </p:nvPr>
        </p:nvSpPr>
        <p:spPr>
          <a:xfrm>
            <a:off x="6238500" y="1524000"/>
            <a:ext cx="5382000" cy="4162836"/>
          </a:xfrm>
        </p:spPr>
        <p:txBody>
          <a:bodyPr/>
          <a:lstStyle/>
          <a:p>
            <a:pPr marL="0" indent="0">
              <a:buNone/>
            </a:pPr>
            <a:r>
              <a:rPr lang="nl-NL" b="1" dirty="0"/>
              <a:t>NIET</a:t>
            </a:r>
          </a:p>
          <a:p>
            <a:r>
              <a:rPr lang="nl-NL" sz="1600" dirty="0"/>
              <a:t>Bronnen zijn leidend bij het ontwerp van de </a:t>
            </a:r>
            <a:r>
              <a:rPr lang="nl-NL" sz="1600" dirty="0" err="1"/>
              <a:t>datamarts</a:t>
            </a:r>
            <a:endParaRPr lang="nl-NL" sz="1600" dirty="0"/>
          </a:p>
          <a:p>
            <a:pPr>
              <a:spcBef>
                <a:spcPts val="600"/>
              </a:spcBef>
            </a:pPr>
            <a:r>
              <a:rPr lang="nl-NL" sz="1600" dirty="0"/>
              <a:t>Statische rapporten met een </a:t>
            </a:r>
            <a:r>
              <a:rPr lang="nl-NL" sz="1600" dirty="0" err="1"/>
              <a:t>overload</a:t>
            </a:r>
            <a:r>
              <a:rPr lang="nl-NL" sz="1600" dirty="0"/>
              <a:t> aan gegevens</a:t>
            </a:r>
          </a:p>
          <a:p>
            <a:pPr>
              <a:spcBef>
                <a:spcPts val="600"/>
              </a:spcBef>
            </a:pPr>
            <a:r>
              <a:rPr lang="nl-NL" sz="1600" dirty="0"/>
              <a:t>Informatiedashboards die zich beperken tot 1 onderwerp</a:t>
            </a:r>
          </a:p>
          <a:p>
            <a:endParaRPr lang="nl-NL" sz="1600" dirty="0"/>
          </a:p>
          <a:p>
            <a:endParaRPr lang="nl-NL" sz="1600" dirty="0"/>
          </a:p>
          <a:p>
            <a:endParaRPr lang="nl-NL" sz="1600" dirty="0"/>
          </a:p>
          <a:p>
            <a:endParaRPr lang="nl-NL" sz="1600" dirty="0"/>
          </a:p>
          <a:p>
            <a:endParaRPr lang="nl-NL" sz="1600" dirty="0"/>
          </a:p>
          <a:p>
            <a:pPr>
              <a:spcBef>
                <a:spcPts val="600"/>
              </a:spcBef>
            </a:pPr>
            <a:r>
              <a:rPr lang="nl-NL" sz="1600" dirty="0"/>
              <a:t>Voorgeprogrammeerde D&amp;S-nummers die combi zijn van feit en dimensie</a:t>
            </a:r>
          </a:p>
          <a:p>
            <a:pPr marL="0" indent="0">
              <a:buNone/>
            </a:pPr>
            <a:endParaRPr lang="nl-NL" dirty="0"/>
          </a:p>
        </p:txBody>
      </p:sp>
      <p:sp>
        <p:nvSpPr>
          <p:cNvPr id="3" name="Tijdelijke aanduiding voor voettekst 2"/>
          <p:cNvSpPr>
            <a:spLocks noGrp="1"/>
          </p:cNvSpPr>
          <p:nvPr>
            <p:ph type="ftr" sz="quarter" idx="16"/>
          </p:nvPr>
        </p:nvSpPr>
        <p:spPr/>
        <p:txBody>
          <a:bodyPr/>
          <a:lstStyle/>
          <a:p>
            <a:r>
              <a:rPr lang="nl-NL"/>
              <a:t>Behoefte functionele migratie SMZ</a:t>
            </a:r>
            <a:endParaRPr lang="en-GB" dirty="0"/>
          </a:p>
        </p:txBody>
      </p:sp>
      <p:sp>
        <p:nvSpPr>
          <p:cNvPr id="4" name="Tijdelijke aanduiding voor dianummer 3"/>
          <p:cNvSpPr>
            <a:spLocks noGrp="1"/>
          </p:cNvSpPr>
          <p:nvPr>
            <p:ph type="sldNum" sz="quarter" idx="17"/>
          </p:nvPr>
        </p:nvSpPr>
        <p:spPr/>
        <p:txBody>
          <a:bodyPr/>
          <a:lstStyle/>
          <a:p>
            <a:fld id="{EEC0F82C-4994-47DA-8D9B-99D78D224F6D}" type="slidenum">
              <a:rPr lang="en-GB" smtClean="0"/>
              <a:pPr/>
              <a:t>8</a:t>
            </a:fld>
            <a:endParaRPr lang="en-GB" dirty="0"/>
          </a:p>
        </p:txBody>
      </p:sp>
      <p:sp>
        <p:nvSpPr>
          <p:cNvPr id="5" name="Tijdelijke aanduiding voor inhoud 4"/>
          <p:cNvSpPr>
            <a:spLocks noGrp="1"/>
          </p:cNvSpPr>
          <p:nvPr>
            <p:ph sz="quarter" idx="14"/>
          </p:nvPr>
        </p:nvSpPr>
        <p:spPr>
          <a:xfrm>
            <a:off x="571500" y="1523999"/>
            <a:ext cx="5382000" cy="4756563"/>
          </a:xfrm>
        </p:spPr>
        <p:txBody>
          <a:bodyPr/>
          <a:lstStyle/>
          <a:p>
            <a:pPr marL="0" indent="0">
              <a:buNone/>
            </a:pPr>
            <a:r>
              <a:rPr lang="nl-NL" b="1" dirty="0"/>
              <a:t>WEL</a:t>
            </a:r>
          </a:p>
          <a:p>
            <a:r>
              <a:rPr lang="nl-NL" sz="1600" dirty="0"/>
              <a:t>Eindproducten (bijvoorbeeld dashboards) zijn leidend bij het ontwerp van de </a:t>
            </a:r>
            <a:r>
              <a:rPr lang="nl-NL" sz="1600" dirty="0" err="1"/>
              <a:t>datamarts</a:t>
            </a:r>
            <a:endParaRPr lang="nl-NL" sz="1600" dirty="0"/>
          </a:p>
          <a:p>
            <a:pPr>
              <a:spcBef>
                <a:spcPts val="600"/>
              </a:spcBef>
            </a:pPr>
            <a:r>
              <a:rPr lang="nl-NL" sz="1600" dirty="0"/>
              <a:t>Interactieve dashboards</a:t>
            </a:r>
          </a:p>
          <a:p>
            <a:pPr lvl="1"/>
            <a:r>
              <a:rPr lang="nl-NL" sz="1600" dirty="0"/>
              <a:t>Gebruik </a:t>
            </a:r>
            <a:r>
              <a:rPr lang="nl-NL" sz="1600" dirty="0" err="1"/>
              <a:t>PowerBI</a:t>
            </a:r>
            <a:r>
              <a:rPr lang="nl-NL" sz="1600" dirty="0"/>
              <a:t> geautoriseerd zolang nieuwe </a:t>
            </a:r>
            <a:r>
              <a:rPr lang="nl-NL" sz="1600" dirty="0" err="1"/>
              <a:t>tooling</a:t>
            </a:r>
            <a:r>
              <a:rPr lang="nl-NL" sz="1600" dirty="0"/>
              <a:t> niet beschikbaar is</a:t>
            </a:r>
          </a:p>
          <a:p>
            <a:pPr>
              <a:spcBef>
                <a:spcPts val="600"/>
              </a:spcBef>
            </a:pPr>
            <a:r>
              <a:rPr lang="nl-NL" sz="1600" dirty="0"/>
              <a:t>Informatiedashboard moet (geaggregeerd) gegevens bevatten van:</a:t>
            </a:r>
          </a:p>
          <a:p>
            <a:pPr lvl="1"/>
            <a:r>
              <a:rPr lang="nl-NL" sz="1600" dirty="0"/>
              <a:t>Alle wetten</a:t>
            </a:r>
          </a:p>
          <a:p>
            <a:pPr lvl="1"/>
            <a:r>
              <a:rPr lang="nl-NL" sz="1600" dirty="0"/>
              <a:t>Personele gegevens als ziekteverzuim</a:t>
            </a:r>
          </a:p>
          <a:p>
            <a:pPr lvl="1"/>
            <a:r>
              <a:rPr lang="nl-NL" sz="1600" dirty="0"/>
              <a:t>Financiële cijfers</a:t>
            </a:r>
          </a:p>
          <a:p>
            <a:pPr lvl="1"/>
            <a:r>
              <a:rPr lang="nl-NL" sz="1600" dirty="0"/>
              <a:t>Zowel realisaties als begrotingen en prognoses</a:t>
            </a:r>
          </a:p>
          <a:p>
            <a:pPr>
              <a:spcBef>
                <a:spcPts val="600"/>
              </a:spcBef>
            </a:pPr>
            <a:r>
              <a:rPr lang="nl-NL" sz="1600" dirty="0"/>
              <a:t>Specifieke feiten in </a:t>
            </a:r>
            <a:r>
              <a:rPr lang="nl-NL" sz="1600" dirty="0" err="1"/>
              <a:t>datamart</a:t>
            </a:r>
            <a:r>
              <a:rPr lang="nl-NL" sz="1600" dirty="0"/>
              <a:t>, metingen in BI tool</a:t>
            </a:r>
          </a:p>
        </p:txBody>
      </p:sp>
      <p:sp>
        <p:nvSpPr>
          <p:cNvPr id="8" name="Titel 4"/>
          <p:cNvSpPr txBox="1">
            <a:spLocks/>
          </p:cNvSpPr>
          <p:nvPr/>
        </p:nvSpPr>
        <p:spPr bwMode="gray">
          <a:xfrm>
            <a:off x="571500" y="542166"/>
            <a:ext cx="11049000" cy="981834"/>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400" b="1" kern="1200">
                <a:solidFill>
                  <a:schemeClr val="tx2"/>
                </a:solidFill>
                <a:latin typeface="+mj-lt"/>
                <a:ea typeface="+mj-ea"/>
                <a:cs typeface="+mj-cs"/>
              </a:defRPr>
            </a:lvl1pPr>
          </a:lstStyle>
          <a:p>
            <a:pPr lvl="0">
              <a:defRPr/>
            </a:pPr>
            <a:r>
              <a:rPr lang="nl-NL" noProof="0" dirty="0">
                <a:solidFill>
                  <a:srgbClr val="003282"/>
                </a:solidFill>
              </a:rPr>
              <a:t>Eindproducten zijn leidend bij technisch ontwerp en kunnen daadwerkelijk worden aangesloten op het DIM</a:t>
            </a:r>
            <a:endParaRPr kumimoji="0" lang="nl-NL" sz="2400" b="1" i="0" u="none" strike="noStrike" kern="1200" cap="none" spc="0" normalizeH="0" baseline="0" noProof="0" dirty="0">
              <a:ln>
                <a:noFill/>
              </a:ln>
              <a:solidFill>
                <a:srgbClr val="003282"/>
              </a:solidFill>
              <a:effectLst/>
              <a:uLnTx/>
              <a:uFillTx/>
              <a:latin typeface="Verdana"/>
              <a:ea typeface="+mj-ea"/>
              <a:cs typeface="+mj-cs"/>
            </a:endParaRPr>
          </a:p>
        </p:txBody>
      </p:sp>
      <p:sp>
        <p:nvSpPr>
          <p:cNvPr id="9" name="Rechthoek 8"/>
          <p:cNvSpPr/>
          <p:nvPr/>
        </p:nvSpPr>
        <p:spPr>
          <a:xfrm>
            <a:off x="571499" y="288447"/>
            <a:ext cx="7200000" cy="19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all" spc="0" normalizeH="0" baseline="0" noProof="0" dirty="0">
                <a:ln>
                  <a:noFill/>
                </a:ln>
                <a:solidFill>
                  <a:srgbClr val="FFFFFF">
                    <a:lumMod val="85000"/>
                  </a:srgbClr>
                </a:solidFill>
                <a:effectLst/>
                <a:uLnTx/>
                <a:uFillTx/>
                <a:latin typeface="Verdana"/>
                <a:ea typeface="+mn-ea"/>
                <a:cs typeface="+mn-cs"/>
              </a:rPr>
              <a:t>Operationele behoefte (2/6)</a:t>
            </a:r>
          </a:p>
        </p:txBody>
      </p:sp>
    </p:spTree>
    <p:extLst>
      <p:ext uri="{BB962C8B-B14F-4D97-AF65-F5344CB8AC3E}">
        <p14:creationId xmlns:p14="http://schemas.microsoft.com/office/powerpoint/2010/main" val="41583775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sz="quarter" idx="15"/>
          </p:nvPr>
        </p:nvSpPr>
        <p:spPr>
          <a:xfrm>
            <a:off x="6238500" y="1523998"/>
            <a:ext cx="5382000" cy="4162837"/>
          </a:xfrm>
        </p:spPr>
        <p:txBody>
          <a:bodyPr/>
          <a:lstStyle/>
          <a:p>
            <a:pPr marL="0" indent="0">
              <a:buNone/>
            </a:pPr>
            <a:r>
              <a:rPr lang="nl-NL" b="1" dirty="0"/>
              <a:t>NIET</a:t>
            </a:r>
          </a:p>
          <a:p>
            <a:pPr marL="0" indent="0">
              <a:buNone/>
            </a:pPr>
            <a:endParaRPr lang="nl-NL" dirty="0"/>
          </a:p>
        </p:txBody>
      </p:sp>
      <p:sp>
        <p:nvSpPr>
          <p:cNvPr id="3" name="Tijdelijke aanduiding voor voettekst 2"/>
          <p:cNvSpPr>
            <a:spLocks noGrp="1"/>
          </p:cNvSpPr>
          <p:nvPr>
            <p:ph type="ftr" sz="quarter" idx="16"/>
          </p:nvPr>
        </p:nvSpPr>
        <p:spPr/>
        <p:txBody>
          <a:bodyPr/>
          <a:lstStyle/>
          <a:p>
            <a:r>
              <a:rPr lang="nl-NL"/>
              <a:t>Behoefte functionele migratie SMZ</a:t>
            </a:r>
            <a:endParaRPr lang="en-GB" dirty="0"/>
          </a:p>
        </p:txBody>
      </p:sp>
      <p:sp>
        <p:nvSpPr>
          <p:cNvPr id="4" name="Tijdelijke aanduiding voor dianummer 3"/>
          <p:cNvSpPr>
            <a:spLocks noGrp="1"/>
          </p:cNvSpPr>
          <p:nvPr>
            <p:ph type="sldNum" sz="quarter" idx="17"/>
          </p:nvPr>
        </p:nvSpPr>
        <p:spPr/>
        <p:txBody>
          <a:bodyPr/>
          <a:lstStyle/>
          <a:p>
            <a:fld id="{EEC0F82C-4994-47DA-8D9B-99D78D224F6D}" type="slidenum">
              <a:rPr lang="en-GB" smtClean="0"/>
              <a:pPr/>
              <a:t>9</a:t>
            </a:fld>
            <a:endParaRPr lang="en-GB" dirty="0"/>
          </a:p>
        </p:txBody>
      </p:sp>
      <p:sp>
        <p:nvSpPr>
          <p:cNvPr id="5" name="Tijdelijke aanduiding voor inhoud 4"/>
          <p:cNvSpPr>
            <a:spLocks noGrp="1"/>
          </p:cNvSpPr>
          <p:nvPr>
            <p:ph sz="quarter" idx="14"/>
          </p:nvPr>
        </p:nvSpPr>
        <p:spPr>
          <a:xfrm>
            <a:off x="571500" y="1523999"/>
            <a:ext cx="5382000" cy="4756563"/>
          </a:xfrm>
        </p:spPr>
        <p:txBody>
          <a:bodyPr/>
          <a:lstStyle/>
          <a:p>
            <a:pPr marL="0" indent="0">
              <a:buNone/>
            </a:pPr>
            <a:r>
              <a:rPr lang="nl-NL" b="1" dirty="0"/>
              <a:t>WEL</a:t>
            </a:r>
          </a:p>
          <a:p>
            <a:r>
              <a:rPr lang="nl-NL" sz="1600" dirty="0"/>
              <a:t>Er is een omgeving voor </a:t>
            </a:r>
            <a:r>
              <a:rPr lang="nl-NL" sz="1600" dirty="0" err="1"/>
              <a:t>self</a:t>
            </a:r>
            <a:r>
              <a:rPr lang="nl-NL" sz="1600" dirty="0"/>
              <a:t> service BI voor de districten</a:t>
            </a:r>
          </a:p>
          <a:p>
            <a:r>
              <a:rPr lang="nl-NL" sz="1600" dirty="0"/>
              <a:t>Er is een geïntegreerde analyse omgeving voor:</a:t>
            </a:r>
          </a:p>
          <a:p>
            <a:pPr lvl="1"/>
            <a:r>
              <a:rPr lang="nl-NL" sz="1600" dirty="0"/>
              <a:t>Statistische analyses</a:t>
            </a:r>
          </a:p>
          <a:p>
            <a:pPr lvl="1"/>
            <a:r>
              <a:rPr lang="nl-NL" sz="1600" dirty="0" err="1"/>
              <a:t>Process</a:t>
            </a:r>
            <a:r>
              <a:rPr lang="nl-NL" sz="1600" dirty="0"/>
              <a:t> </a:t>
            </a:r>
            <a:r>
              <a:rPr lang="nl-NL" sz="1600" dirty="0" err="1"/>
              <a:t>Mining</a:t>
            </a:r>
            <a:endParaRPr lang="nl-NL" sz="1600" dirty="0"/>
          </a:p>
          <a:p>
            <a:pPr lvl="1"/>
            <a:r>
              <a:rPr lang="nl-NL" sz="1600" dirty="0" err="1"/>
              <a:t>Predictive</a:t>
            </a:r>
            <a:r>
              <a:rPr lang="nl-NL" sz="1600" dirty="0"/>
              <a:t> </a:t>
            </a:r>
            <a:r>
              <a:rPr lang="nl-NL" sz="1600" dirty="0" err="1"/>
              <a:t>Modelling</a:t>
            </a:r>
            <a:endParaRPr lang="nl-NL" sz="1600" dirty="0"/>
          </a:p>
          <a:p>
            <a:r>
              <a:rPr lang="nl-NL" sz="1600" dirty="0"/>
              <a:t>Er is een omgeving voor het automatisch trekken van steekproeven voor kwaliteitsonderzoek</a:t>
            </a:r>
          </a:p>
          <a:p>
            <a:r>
              <a:rPr lang="nl-NL" sz="1600" dirty="0"/>
              <a:t>Er is toegang tot een omgeving voor kwaliteitsonderzoeken op basis waarvan leren en verbeteren in gang gezet kan worden</a:t>
            </a:r>
          </a:p>
          <a:p>
            <a:endParaRPr lang="nl-NL" sz="1800" dirty="0"/>
          </a:p>
        </p:txBody>
      </p:sp>
      <p:sp>
        <p:nvSpPr>
          <p:cNvPr id="8" name="Titel 4"/>
          <p:cNvSpPr txBox="1">
            <a:spLocks/>
          </p:cNvSpPr>
          <p:nvPr/>
        </p:nvSpPr>
        <p:spPr bwMode="gray">
          <a:xfrm>
            <a:off x="571500" y="542166"/>
            <a:ext cx="11049000" cy="981834"/>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400" b="1" kern="1200">
                <a:solidFill>
                  <a:schemeClr val="tx2"/>
                </a:solidFill>
                <a:latin typeface="+mj-lt"/>
                <a:ea typeface="+mj-ea"/>
                <a:cs typeface="+mj-cs"/>
              </a:defRPr>
            </a:lvl1pPr>
          </a:lstStyle>
          <a:p>
            <a:pPr lvl="0">
              <a:defRPr/>
            </a:pPr>
            <a:r>
              <a:rPr lang="nl-NL" dirty="0">
                <a:solidFill>
                  <a:srgbClr val="003282"/>
                </a:solidFill>
              </a:rPr>
              <a:t>Daarnaast wil SMZ zelf aan de slag met gegevens voor de doeleinden </a:t>
            </a:r>
            <a:r>
              <a:rPr lang="nl-NL" dirty="0" err="1">
                <a:solidFill>
                  <a:srgbClr val="003282"/>
                </a:solidFill>
              </a:rPr>
              <a:t>self-service</a:t>
            </a:r>
            <a:r>
              <a:rPr lang="nl-NL" dirty="0">
                <a:solidFill>
                  <a:srgbClr val="003282"/>
                </a:solidFill>
              </a:rPr>
              <a:t>, analyse, audits en kwaliteitsonderzoek</a:t>
            </a:r>
            <a:endParaRPr kumimoji="0" lang="nl-NL" sz="2400" b="1" i="0" u="none" strike="noStrike" kern="1200" cap="none" spc="0" normalizeH="0" baseline="0" noProof="0" dirty="0">
              <a:ln>
                <a:noFill/>
              </a:ln>
              <a:solidFill>
                <a:srgbClr val="003282"/>
              </a:solidFill>
              <a:effectLst/>
              <a:uLnTx/>
              <a:uFillTx/>
              <a:latin typeface="Verdana"/>
              <a:ea typeface="+mj-ea"/>
              <a:cs typeface="+mj-cs"/>
            </a:endParaRPr>
          </a:p>
        </p:txBody>
      </p:sp>
      <p:sp>
        <p:nvSpPr>
          <p:cNvPr id="9" name="Rechthoek 8"/>
          <p:cNvSpPr/>
          <p:nvPr/>
        </p:nvSpPr>
        <p:spPr>
          <a:xfrm>
            <a:off x="571499" y="288447"/>
            <a:ext cx="7200000" cy="19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lvl="0">
              <a:defRPr/>
            </a:pPr>
            <a:r>
              <a:rPr kumimoji="0" lang="nl-NL" sz="1000" b="1" i="0" u="none" strike="noStrike" kern="1200" cap="all" spc="0" normalizeH="0" baseline="0" noProof="0" dirty="0">
                <a:ln>
                  <a:noFill/>
                </a:ln>
                <a:solidFill>
                  <a:srgbClr val="FFFFFF">
                    <a:lumMod val="85000"/>
                  </a:srgbClr>
                </a:solidFill>
                <a:effectLst/>
                <a:uLnTx/>
                <a:uFillTx/>
                <a:latin typeface="Verdana"/>
                <a:ea typeface="+mn-ea"/>
                <a:cs typeface="+mn-cs"/>
              </a:rPr>
              <a:t>Operationele </a:t>
            </a:r>
            <a:r>
              <a:rPr lang="nl-NL" sz="1000" b="1" cap="all" dirty="0">
                <a:solidFill>
                  <a:srgbClr val="FFFFFF">
                    <a:lumMod val="85000"/>
                  </a:srgbClr>
                </a:solidFill>
              </a:rPr>
              <a:t>behoefte (3/6)</a:t>
            </a:r>
            <a:endParaRPr kumimoji="0" lang="nl-NL" sz="1000" b="1" i="0" u="none" strike="noStrike" kern="1200" cap="all" spc="0" normalizeH="0" baseline="0" noProof="0" dirty="0">
              <a:ln>
                <a:noFill/>
              </a:ln>
              <a:solidFill>
                <a:srgbClr val="FFFFFF">
                  <a:lumMod val="85000"/>
                </a:srgbClr>
              </a:solidFill>
              <a:effectLst/>
              <a:uLnTx/>
              <a:uFillTx/>
              <a:latin typeface="Verdana"/>
              <a:ea typeface="+mn-ea"/>
              <a:cs typeface="+mn-cs"/>
            </a:endParaRPr>
          </a:p>
        </p:txBody>
      </p:sp>
    </p:spTree>
    <p:extLst>
      <p:ext uri="{BB962C8B-B14F-4D97-AF65-F5344CB8AC3E}">
        <p14:creationId xmlns:p14="http://schemas.microsoft.com/office/powerpoint/2010/main" val="4312270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CFua_EDC7.qkgBQluVx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Wj.eQcZhpzm5o85gE7VCg"/>
</p:tagLst>
</file>

<file path=ppt/theme/theme1.xml><?xml version="1.0" encoding="utf-8"?>
<a:theme xmlns:a="http://schemas.openxmlformats.org/drawingml/2006/main" name="UWV Januari 2019">
  <a:themeElements>
    <a:clrScheme name="UWV2019">
      <a:dk1>
        <a:srgbClr val="000000"/>
      </a:dk1>
      <a:lt1>
        <a:srgbClr val="FFFFFF"/>
      </a:lt1>
      <a:dk2>
        <a:srgbClr val="0078D2"/>
      </a:dk2>
      <a:lt2>
        <a:srgbClr val="B9E2FF"/>
      </a:lt2>
      <a:accent1>
        <a:srgbClr val="0078D2"/>
      </a:accent1>
      <a:accent2>
        <a:srgbClr val="003282"/>
      </a:accent2>
      <a:accent3>
        <a:srgbClr val="C4D600"/>
      </a:accent3>
      <a:accent4>
        <a:srgbClr val="BE0028"/>
      </a:accent4>
      <a:accent5>
        <a:srgbClr val="F08C00"/>
      </a:accent5>
      <a:accent6>
        <a:srgbClr val="687A00"/>
      </a:accent6>
      <a:hlink>
        <a:srgbClr val="0078D2"/>
      </a:hlink>
      <a:folHlink>
        <a:srgbClr val="003282"/>
      </a:folHlink>
    </a:clrScheme>
    <a:fontScheme name="UWV">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sz="100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UWV blauw">
      <a:srgbClr val="0078D2"/>
    </a:custClr>
    <a:custClr name="UWV donker blauw">
      <a:srgbClr val="003383"/>
    </a:custClr>
    <a:custClr name="UWV lichtgroen">
      <a:srgbClr val="C4D600"/>
    </a:custClr>
    <a:custClr name="UWV rood">
      <a:srgbClr val="BD0027"/>
    </a:custClr>
    <a:custClr name="UWV oranje">
      <a:srgbClr val="F08C00"/>
    </a:custClr>
    <a:custClr name="UWV groen">
      <a:srgbClr val="687A00"/>
    </a:custClr>
    <a:custClr name="UWV lichtblauw">
      <a:srgbClr val="B9E2FF"/>
    </a:custClr>
    <a:custClr name="UWV grijs">
      <a:srgbClr val="999999"/>
    </a:custClr>
    <a:custClr name="UWV donkergrijs">
      <a:srgbClr val="444444"/>
    </a:custClr>
    <a:custClr>
      <a:srgbClr val="FFFFFF"/>
    </a:custClr>
    <a:custClr name="UWV blauw 50%">
      <a:srgbClr val="7FBBE8"/>
    </a:custClr>
    <a:custClr name="UWV donker blauw 50%">
      <a:srgbClr val="7F98C0"/>
    </a:custClr>
    <a:custClr name="UWV lichtgroen 50%">
      <a:srgbClr val="E1EA7F"/>
    </a:custClr>
    <a:custClr name="UWV rood 50%">
      <a:srgbClr val="DE7F93"/>
    </a:custClr>
    <a:custClr name="UWV oranje 50%">
      <a:srgbClr val="F7C57F"/>
    </a:custClr>
    <a:custClr name="UWV groen 50%">
      <a:srgbClr val="B3BC7F"/>
    </a:custClr>
    <a:custClr name="UWV lichtblauw 50%">
      <a:srgbClr val="DCF0FF"/>
    </a:custClr>
    <a:custClr name="UWV grijs 50%">
      <a:srgbClr val="CCCCCC"/>
    </a:custClr>
    <a:custClr name="UWV donkergrijs 50%">
      <a:srgbClr val="A1A1A1"/>
    </a:custClr>
    <a:custClr>
      <a:srgbClr val="FFFFFF"/>
    </a:custClr>
    <a:custClr name="UWV lichtgrijs">
      <a:srgbClr val="F5F5F5"/>
    </a:custClr>
    <a:custClr name="Wit">
      <a:srgbClr val="FFFFFF"/>
    </a:custClr>
    <a:custClr name="Zwart">
      <a:srgbClr val="000000"/>
    </a:custClr>
  </a:custClrLst>
  <a:extLst>
    <a:ext uri="{05A4C25C-085E-4340-85A3-A5531E510DB2}">
      <thm15:themeFamily xmlns:thm15="http://schemas.microsoft.com/office/thememl/2012/main" name="Blank.potx" id="{A3970371-34CB-4E26-953C-02ECE651066C}" vid="{FA29768E-BCAB-4237-9DFF-16264E2B7432}"/>
    </a:ext>
  </a:extLst>
</a:theme>
</file>

<file path=ppt/theme/theme2.xml><?xml version="1.0" encoding="utf-8"?>
<a:theme xmlns:a="http://schemas.openxmlformats.org/drawingml/2006/main" name="Custom">
  <a:themeElements>
    <a:clrScheme name="UWV Kenniskleuren">
      <a:dk1>
        <a:sysClr val="windowText" lastClr="000000"/>
      </a:dk1>
      <a:lt1>
        <a:sysClr val="window" lastClr="FFFFFF"/>
      </a:lt1>
      <a:dk2>
        <a:srgbClr val="593166"/>
      </a:dk2>
      <a:lt2>
        <a:srgbClr val="1690D0"/>
      </a:lt2>
      <a:accent1>
        <a:srgbClr val="41AD49"/>
      </a:accent1>
      <a:accent2>
        <a:srgbClr val="E23527"/>
      </a:accent2>
      <a:accent3>
        <a:srgbClr val="1690D0"/>
      </a:accent3>
      <a:accent4>
        <a:srgbClr val="593166"/>
      </a:accent4>
      <a:accent5>
        <a:srgbClr val="7E8287"/>
      </a:accent5>
      <a:accent6>
        <a:srgbClr val="214E9E"/>
      </a:accent6>
      <a:hlink>
        <a:srgbClr val="214E9E"/>
      </a:hlink>
      <a:folHlink>
        <a:srgbClr val="593166"/>
      </a:folHlink>
    </a:clrScheme>
    <a:fontScheme name="UWV">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UWV Blauw">
      <a:srgbClr val="006ACA"/>
    </a:custClr>
    <a:custClr name="UWV Donker Blauw">
      <a:srgbClr val="001588"/>
    </a:custClr>
    <a:custClr name="UWV Grijs">
      <a:srgbClr val="646569"/>
    </a:custClr>
    <a:custClr name="UWV Groen">
      <a:srgbClr val="4D9C2D"/>
    </a:custClr>
    <a:custClr name="UWV Signaal Rood">
      <a:srgbClr val="FF4338"/>
    </a:custClr>
    <a:custClr name="UWV Signaal Oranje">
      <a:srgbClr val="FF4D00"/>
    </a:custClr>
    <a:custClr name="UWV Signaal Groen">
      <a:srgbClr val="B8FF00"/>
    </a:custClr>
    <a:custClr name="Wit">
      <a:srgbClr val="FFFFFF"/>
    </a:custClr>
    <a:custClr name="Zwart">
      <a:srgbClr val="000000"/>
    </a:custClr>
    <a:custClr>
      <a:srgbClr val="FFFFFF"/>
    </a:custClr>
    <a:custClr name="UWV Blauw 65%">
      <a:srgbClr val="599EDC"/>
    </a:custClr>
    <a:custClr name="UWV Donker Blauw 65%">
      <a:srgbClr val="5967B1"/>
    </a:custClr>
    <a:custClr name="UWV Grijs 65%">
      <a:srgbClr val="9B9A9E"/>
    </a:custClr>
    <a:custClr name="UWV Groen 65%">
      <a:srgbClr val="89BF73"/>
    </a:custClr>
    <a:custClr>
      <a:srgbClr val="FFFFFF"/>
    </a:custClr>
    <a:custClr>
      <a:srgbClr val="FFFFFF"/>
    </a:custClr>
    <a:custClr>
      <a:srgbClr val="FFFFFF"/>
    </a:custClr>
    <a:custClr>
      <a:srgbClr val="FFFFFF"/>
    </a:custClr>
    <a:custClr>
      <a:srgbClr val="FFFFFF"/>
    </a:custClr>
    <a:custClr>
      <a:srgbClr val="FFFFFF"/>
    </a:custClr>
    <a:custClr name="UWV Blauw 35%">
      <a:srgbClr val="A6CBEC"/>
    </a:custClr>
    <a:custClr name="UWV Donker Blauw 35%">
      <a:srgbClr val="C5B5C7"/>
    </a:custClr>
    <a:custClr name="UWV Grijs 35%">
      <a:srgbClr val="C9C9CB"/>
    </a:custClr>
    <a:custClr name="UWV Groen 35%">
      <a:srgbClr val="C3DEB6"/>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5c8cb159-2b14-44f1-9f1e-2f87ce4796ac" ContentTypeId="0x0101" PreviousValue="false"/>
</file>

<file path=customXml/item2.xml><?xml version="1.0" encoding="utf-8"?>
<?mso-contentType ?>
<customXsn xmlns="http://schemas.microsoft.com/office/2006/metadata/customXsn">
  <xsnLocation/>
  <cached>True</cached>
  <openByDefault>False</openByDefault>
  <xsnScope/>
</customXsn>
</file>

<file path=customXml/item3.xml><?xml version="1.0" encoding="utf-8"?>
<ct:contentTypeSchema xmlns:ct="http://schemas.microsoft.com/office/2006/metadata/contentType" xmlns:ma="http://schemas.microsoft.com/office/2006/metadata/properties/metaAttributes" ct:_="" ma:_="" ma:contentTypeName="Document" ma:contentTypeID="0x010100CAB2D29CDF7DBF4F80D4A2A7FA448BF2" ma:contentTypeVersion="1" ma:contentTypeDescription="Een nieuw document maken." ma:contentTypeScope="" ma:versionID="96f0ae825a522b46caf25d0617d8320f">
  <xsd:schema xmlns:xsd="http://www.w3.org/2001/XMLSchema" xmlns:xs="http://www.w3.org/2001/XMLSchema" xmlns:p="http://schemas.microsoft.com/office/2006/metadata/properties" targetNamespace="http://schemas.microsoft.com/office/2006/metadata/properties" ma:root="true" ma:fieldsID="a15bf6822c137ccd5d40ebcd1dec61ba">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7"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4F079FC-9C54-4C17-AC2D-9D6E35131BF7}">
  <ds:schemaRefs>
    <ds:schemaRef ds:uri="Microsoft.SharePoint.Taxonomy.ContentTypeSync"/>
  </ds:schemaRefs>
</ds:datastoreItem>
</file>

<file path=customXml/itemProps2.xml><?xml version="1.0" encoding="utf-8"?>
<ds:datastoreItem xmlns:ds="http://schemas.openxmlformats.org/officeDocument/2006/customXml" ds:itemID="{564912DD-2411-4EAB-A1C9-CB9EB1EA9596}">
  <ds:schemaRefs>
    <ds:schemaRef ds:uri="http://schemas.microsoft.com/office/2006/metadata/customXsn"/>
  </ds:schemaRefs>
</ds:datastoreItem>
</file>

<file path=customXml/itemProps3.xml><?xml version="1.0" encoding="utf-8"?>
<ds:datastoreItem xmlns:ds="http://schemas.openxmlformats.org/officeDocument/2006/customXml" ds:itemID="{DF01D3FA-9653-4808-A0D8-FAAF6BE96D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4.xml><?xml version="1.0" encoding="utf-8"?>
<ds:datastoreItem xmlns:ds="http://schemas.openxmlformats.org/officeDocument/2006/customXml" ds:itemID="{0A0F63BA-AF50-4258-9FF3-430E2A9CA053}">
  <ds:schemaRefs>
    <ds:schemaRef ds:uri="http://schemas.microsoft.com/office/2006/metadata/properties"/>
    <ds:schemaRef ds:uri="http://schemas.microsoft.com/office/infopath/2007/PartnerControls"/>
  </ds:schemaRefs>
</ds:datastoreItem>
</file>

<file path=customXml/itemProps5.xml><?xml version="1.0" encoding="utf-8"?>
<ds:datastoreItem xmlns:ds="http://schemas.openxmlformats.org/officeDocument/2006/customXml" ds:itemID="{73CE4B80-59AE-4E7F-A117-4D236DD9409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669</Words>
  <Application>Microsoft Office PowerPoint</Application>
  <PresentationFormat>Breedbeeld</PresentationFormat>
  <Paragraphs>190</Paragraphs>
  <Slides>13</Slides>
  <Notes>1</Notes>
  <HiddenSlides>0</HiddenSlides>
  <MMClips>0</MMClips>
  <ScaleCrop>false</ScaleCrop>
  <HeadingPairs>
    <vt:vector size="8" baseType="variant">
      <vt:variant>
        <vt:lpstr>Gebruikte lettertypen</vt:lpstr>
      </vt:variant>
      <vt:variant>
        <vt:i4>5</vt:i4>
      </vt:variant>
      <vt:variant>
        <vt:lpstr>Thema</vt:lpstr>
      </vt:variant>
      <vt:variant>
        <vt:i4>1</vt:i4>
      </vt:variant>
      <vt:variant>
        <vt:lpstr>Ingesloten OLE-bronprogramma's</vt:lpstr>
      </vt:variant>
      <vt:variant>
        <vt:i4>1</vt:i4>
      </vt:variant>
      <vt:variant>
        <vt:lpstr>Diatitels</vt:lpstr>
      </vt:variant>
      <vt:variant>
        <vt:i4>13</vt:i4>
      </vt:variant>
    </vt:vector>
  </HeadingPairs>
  <TitlesOfParts>
    <vt:vector size="20" baseType="lpstr">
      <vt:lpstr>Arial</vt:lpstr>
      <vt:lpstr>Calibri</vt:lpstr>
      <vt:lpstr>Courier New</vt:lpstr>
      <vt:lpstr>Nuon Matthew Light</vt:lpstr>
      <vt:lpstr>Verdana</vt:lpstr>
      <vt:lpstr>UWV Januari 2019</vt:lpstr>
      <vt:lpstr>think-cell Slide</vt:lpstr>
      <vt:lpstr>Eisen en wensen SMZ voor Datafabriek</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Reichman, Michael (M.)</dc:creator>
  <cp:lastModifiedBy>Niessen, Henry (H.J.J.M.)</cp:lastModifiedBy>
  <cp:revision>614</cp:revision>
  <cp:lastPrinted>2019-11-05T14:13:27Z</cp:lastPrinted>
  <dcterms:created xsi:type="dcterms:W3CDTF">2019-09-13T08:30:06Z</dcterms:created>
  <dcterms:modified xsi:type="dcterms:W3CDTF">2024-02-07T07:49: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B2D29CDF7DBF4F80D4A2A7FA448BF2</vt:lpwstr>
  </property>
</Properties>
</file>